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19"/>
  </p:notesMasterIdLst>
  <p:sldIdLst>
    <p:sldId id="407" r:id="rId5"/>
    <p:sldId id="692" r:id="rId6"/>
    <p:sldId id="269" r:id="rId7"/>
    <p:sldId id="664" r:id="rId8"/>
    <p:sldId id="673" r:id="rId9"/>
    <p:sldId id="663" r:id="rId10"/>
    <p:sldId id="674" r:id="rId11"/>
    <p:sldId id="691" r:id="rId12"/>
    <p:sldId id="671" r:id="rId13"/>
    <p:sldId id="693" r:id="rId14"/>
    <p:sldId id="694" r:id="rId15"/>
    <p:sldId id="695" r:id="rId16"/>
    <p:sldId id="696" r:id="rId17"/>
    <p:sldId id="697" r:id="rId18"/>
  </p:sldIdLst>
  <p:sldSz cx="12192000" cy="6858000"/>
  <p:notesSz cx="6858000" cy="9144000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Calibri Light" panose="020F0302020204030204" pitchFamily="34" charset="0"/>
      <p:regular r:id="rId24"/>
      <p:italic r:id="rId2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8FC4"/>
    <a:srgbClr val="FFCD1E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07" autoAdjust="0"/>
    <p:restoredTop sz="92277" autoAdjust="0"/>
  </p:normalViewPr>
  <p:slideViewPr>
    <p:cSldViewPr snapToGrid="0">
      <p:cViewPr varScale="1">
        <p:scale>
          <a:sx n="66" d="100"/>
          <a:sy n="66" d="100"/>
        </p:scale>
        <p:origin x="936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6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1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5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4.fntdata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3.fntdata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473CA6-25A3-410E-9B5F-727B1801E1D6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EB88300B-FCC1-4781-9094-7F02AF3FE86E}">
      <dgm:prSet phldrT="[Text]"/>
      <dgm:spPr/>
      <dgm:t>
        <a:bodyPr/>
        <a:lstStyle/>
        <a:p>
          <a:r>
            <a:rPr lang="pt-PT" dirty="0" err="1"/>
            <a:t>Good</a:t>
          </a:r>
          <a:endParaRPr lang="pt-PT" dirty="0"/>
        </a:p>
      </dgm:t>
    </dgm:pt>
    <dgm:pt modelId="{617C5609-FA9C-40F7-A753-C9DBC4A59A1D}" type="parTrans" cxnId="{3811A9EF-96FE-4BE6-B32C-F5A2353D75A4}">
      <dgm:prSet/>
      <dgm:spPr/>
      <dgm:t>
        <a:bodyPr/>
        <a:lstStyle/>
        <a:p>
          <a:endParaRPr lang="pt-PT"/>
        </a:p>
      </dgm:t>
    </dgm:pt>
    <dgm:pt modelId="{961D1448-7F37-4642-A449-5F2A4F65953C}" type="sibTrans" cxnId="{3811A9EF-96FE-4BE6-B32C-F5A2353D75A4}">
      <dgm:prSet/>
      <dgm:spPr/>
      <dgm:t>
        <a:bodyPr/>
        <a:lstStyle/>
        <a:p>
          <a:endParaRPr lang="pt-PT"/>
        </a:p>
      </dgm:t>
    </dgm:pt>
    <dgm:pt modelId="{FE561863-5E1C-4934-9653-6D6B30503D9B}">
      <dgm:prSet phldrT="[Text]"/>
      <dgm:spPr/>
      <dgm:t>
        <a:bodyPr/>
        <a:lstStyle/>
        <a:p>
          <a:r>
            <a:rPr lang="pt-PT" dirty="0" err="1"/>
            <a:t>All</a:t>
          </a:r>
          <a:r>
            <a:rPr lang="pt-PT" dirty="0"/>
            <a:t> </a:t>
          </a:r>
          <a:r>
            <a:rPr lang="pt-PT" dirty="0" err="1"/>
            <a:t>tasks</a:t>
          </a:r>
          <a:r>
            <a:rPr lang="pt-PT" dirty="0"/>
            <a:t> </a:t>
          </a:r>
          <a:r>
            <a:rPr lang="pt-PT" dirty="0" err="1"/>
            <a:t>completed</a:t>
          </a:r>
          <a:r>
            <a:rPr lang="pt-PT" dirty="0"/>
            <a:t> </a:t>
          </a:r>
          <a:r>
            <a:rPr lang="pt-PT" dirty="0" err="1"/>
            <a:t>sucessfully</a:t>
          </a:r>
          <a:r>
            <a:rPr lang="pt-PT" dirty="0"/>
            <a:t>.	</a:t>
          </a:r>
        </a:p>
      </dgm:t>
    </dgm:pt>
    <dgm:pt modelId="{01E42B77-5298-44A2-BB69-C185A06A5D65}" type="parTrans" cxnId="{816AC413-04AA-4C13-B3B2-B07D67D4B754}">
      <dgm:prSet/>
      <dgm:spPr/>
      <dgm:t>
        <a:bodyPr/>
        <a:lstStyle/>
        <a:p>
          <a:endParaRPr lang="pt-PT"/>
        </a:p>
      </dgm:t>
    </dgm:pt>
    <dgm:pt modelId="{DFAE94E0-B74C-4BC8-B2A2-0D850742D180}" type="sibTrans" cxnId="{816AC413-04AA-4C13-B3B2-B07D67D4B754}">
      <dgm:prSet/>
      <dgm:spPr/>
      <dgm:t>
        <a:bodyPr/>
        <a:lstStyle/>
        <a:p>
          <a:endParaRPr lang="pt-PT"/>
        </a:p>
      </dgm:t>
    </dgm:pt>
    <dgm:pt modelId="{A1AE9BDC-9A4C-474C-A5C7-EE9F9A26B3F7}">
      <dgm:prSet phldrT="[Text]"/>
      <dgm:spPr/>
      <dgm:t>
        <a:bodyPr/>
        <a:lstStyle/>
        <a:p>
          <a:r>
            <a:rPr lang="pt-PT" dirty="0" err="1"/>
            <a:t>Promptly</a:t>
          </a:r>
          <a:r>
            <a:rPr lang="pt-PT" dirty="0"/>
            <a:t> </a:t>
          </a:r>
          <a:r>
            <a:rPr lang="pt-PT" dirty="0" err="1"/>
            <a:t>support</a:t>
          </a:r>
          <a:r>
            <a:rPr lang="pt-PT" dirty="0"/>
            <a:t> </a:t>
          </a:r>
          <a:r>
            <a:rPr lang="pt-PT" dirty="0" err="1"/>
            <a:t>from</a:t>
          </a:r>
          <a:r>
            <a:rPr lang="pt-PT" dirty="0"/>
            <a:t> </a:t>
          </a:r>
          <a:r>
            <a:rPr lang="pt-PT" dirty="0" err="1"/>
            <a:t>the</a:t>
          </a:r>
          <a:r>
            <a:rPr lang="pt-PT" dirty="0"/>
            <a:t> team.</a:t>
          </a:r>
        </a:p>
      </dgm:t>
    </dgm:pt>
    <dgm:pt modelId="{A0C2B6F8-CCB5-43C5-BE38-78FB5D3CDD07}" type="parTrans" cxnId="{570B82B9-CE31-4FE6-99B2-F5501BBFB4C8}">
      <dgm:prSet/>
      <dgm:spPr/>
      <dgm:t>
        <a:bodyPr/>
        <a:lstStyle/>
        <a:p>
          <a:endParaRPr lang="pt-PT"/>
        </a:p>
      </dgm:t>
    </dgm:pt>
    <dgm:pt modelId="{4FBB5D60-D649-4E15-91C5-22A59E1B1F35}" type="sibTrans" cxnId="{570B82B9-CE31-4FE6-99B2-F5501BBFB4C8}">
      <dgm:prSet/>
      <dgm:spPr/>
      <dgm:t>
        <a:bodyPr/>
        <a:lstStyle/>
        <a:p>
          <a:endParaRPr lang="pt-PT"/>
        </a:p>
      </dgm:t>
    </dgm:pt>
    <dgm:pt modelId="{1E4935E2-C8E3-4188-9E9E-876C879AA69F}">
      <dgm:prSet phldrT="[Text]"/>
      <dgm:spPr/>
      <dgm:t>
        <a:bodyPr/>
        <a:lstStyle/>
        <a:p>
          <a:r>
            <a:rPr lang="pt-PT" dirty="0" err="1"/>
            <a:t>Bad</a:t>
          </a:r>
          <a:endParaRPr lang="pt-PT" dirty="0"/>
        </a:p>
      </dgm:t>
    </dgm:pt>
    <dgm:pt modelId="{A5E02EDB-D7A5-4DAB-B6D5-E4F1E74013A9}" type="parTrans" cxnId="{6AD87C2B-2796-458C-BF6B-27FA8915564A}">
      <dgm:prSet/>
      <dgm:spPr/>
      <dgm:t>
        <a:bodyPr/>
        <a:lstStyle/>
        <a:p>
          <a:endParaRPr lang="pt-PT"/>
        </a:p>
      </dgm:t>
    </dgm:pt>
    <dgm:pt modelId="{B9BDAB96-4B5E-43C8-8EA4-15D085FBDF41}" type="sibTrans" cxnId="{6AD87C2B-2796-458C-BF6B-27FA8915564A}">
      <dgm:prSet/>
      <dgm:spPr/>
      <dgm:t>
        <a:bodyPr/>
        <a:lstStyle/>
        <a:p>
          <a:endParaRPr lang="pt-PT"/>
        </a:p>
      </dgm:t>
    </dgm:pt>
    <dgm:pt modelId="{FE355781-AA18-4BBC-A9D0-BDB9762992D4}">
      <dgm:prSet phldrT="[Text]"/>
      <dgm:spPr/>
      <dgm:t>
        <a:bodyPr/>
        <a:lstStyle/>
        <a:p>
          <a:r>
            <a:rPr lang="pt-PT" dirty="0"/>
            <a:t>Time management </a:t>
          </a:r>
          <a:r>
            <a:rPr lang="pt-PT" dirty="0" err="1"/>
            <a:t>when</a:t>
          </a:r>
          <a:r>
            <a:rPr lang="pt-PT" dirty="0"/>
            <a:t> </a:t>
          </a:r>
          <a:r>
            <a:rPr lang="pt-PT" dirty="0" err="1"/>
            <a:t>learning</a:t>
          </a:r>
          <a:r>
            <a:rPr lang="pt-PT" dirty="0"/>
            <a:t> </a:t>
          </a:r>
          <a:r>
            <a:rPr lang="pt-PT" dirty="0" err="1"/>
            <a:t>the</a:t>
          </a:r>
          <a:r>
            <a:rPr lang="pt-PT" dirty="0"/>
            <a:t> </a:t>
          </a:r>
          <a:r>
            <a:rPr lang="pt-PT" dirty="0" err="1"/>
            <a:t>tool’s</a:t>
          </a:r>
          <a:r>
            <a:rPr lang="pt-PT" dirty="0"/>
            <a:t> </a:t>
          </a:r>
          <a:r>
            <a:rPr lang="pt-PT" dirty="0" err="1"/>
            <a:t>features</a:t>
          </a:r>
          <a:r>
            <a:rPr lang="pt-PT" dirty="0"/>
            <a:t>.</a:t>
          </a:r>
        </a:p>
      </dgm:t>
    </dgm:pt>
    <dgm:pt modelId="{BAC35658-B4BE-4E97-9843-61D92AB64A7B}" type="parTrans" cxnId="{5861A851-7D4F-4CE4-946C-4E45F21296CF}">
      <dgm:prSet/>
      <dgm:spPr/>
      <dgm:t>
        <a:bodyPr/>
        <a:lstStyle/>
        <a:p>
          <a:endParaRPr lang="pt-PT"/>
        </a:p>
      </dgm:t>
    </dgm:pt>
    <dgm:pt modelId="{B07605D6-F049-48BD-A060-73C3B27AC7FE}" type="sibTrans" cxnId="{5861A851-7D4F-4CE4-946C-4E45F21296CF}">
      <dgm:prSet/>
      <dgm:spPr/>
      <dgm:t>
        <a:bodyPr/>
        <a:lstStyle/>
        <a:p>
          <a:endParaRPr lang="pt-PT"/>
        </a:p>
      </dgm:t>
    </dgm:pt>
    <dgm:pt modelId="{F46C4F3B-1D99-47F1-BD6E-C0E7133A1835}">
      <dgm:prSet phldrT="[Text]"/>
      <dgm:spPr/>
      <dgm:t>
        <a:bodyPr/>
        <a:lstStyle/>
        <a:p>
          <a:r>
            <a:rPr lang="pt-PT" dirty="0"/>
            <a:t>Improve</a:t>
          </a:r>
        </a:p>
      </dgm:t>
    </dgm:pt>
    <dgm:pt modelId="{CCB92582-46BC-4C3F-922A-625568BB9167}" type="parTrans" cxnId="{2BC528DF-B044-408F-8455-6EDCBBF4ABA0}">
      <dgm:prSet/>
      <dgm:spPr/>
      <dgm:t>
        <a:bodyPr/>
        <a:lstStyle/>
        <a:p>
          <a:endParaRPr lang="pt-PT"/>
        </a:p>
      </dgm:t>
    </dgm:pt>
    <dgm:pt modelId="{86067616-46AA-43A6-8BDB-C9C8D2102757}" type="sibTrans" cxnId="{2BC528DF-B044-408F-8455-6EDCBBF4ABA0}">
      <dgm:prSet/>
      <dgm:spPr/>
      <dgm:t>
        <a:bodyPr/>
        <a:lstStyle/>
        <a:p>
          <a:endParaRPr lang="pt-PT"/>
        </a:p>
      </dgm:t>
    </dgm:pt>
    <dgm:pt modelId="{75FC17EF-620E-4334-A90E-8B0AF51B9DFE}">
      <dgm:prSet phldrT="[Text]"/>
      <dgm:spPr/>
      <dgm:t>
        <a:bodyPr/>
        <a:lstStyle/>
        <a:p>
          <a:r>
            <a:rPr lang="pt-PT" dirty="0" err="1"/>
            <a:t>Proficiency</a:t>
          </a:r>
          <a:r>
            <a:rPr lang="pt-PT" dirty="0"/>
            <a:t> </a:t>
          </a:r>
          <a:r>
            <a:rPr lang="pt-PT" dirty="0" err="1"/>
            <a:t>with</a:t>
          </a:r>
          <a:r>
            <a:rPr lang="pt-PT" dirty="0"/>
            <a:t> </a:t>
          </a:r>
          <a:r>
            <a:rPr lang="pt-PT" dirty="0" err="1"/>
            <a:t>the</a:t>
          </a:r>
          <a:r>
            <a:rPr lang="pt-PT" dirty="0"/>
            <a:t> </a:t>
          </a:r>
          <a:r>
            <a:rPr lang="pt-PT" dirty="0" err="1"/>
            <a:t>automation</a:t>
          </a:r>
          <a:r>
            <a:rPr lang="pt-PT" dirty="0"/>
            <a:t> </a:t>
          </a:r>
          <a:r>
            <a:rPr lang="pt-PT" dirty="0" err="1"/>
            <a:t>tool</a:t>
          </a:r>
          <a:r>
            <a:rPr lang="pt-PT" dirty="0"/>
            <a:t>.</a:t>
          </a:r>
        </a:p>
      </dgm:t>
    </dgm:pt>
    <dgm:pt modelId="{96C9B62E-7A27-4A79-97EF-13467C622223}" type="parTrans" cxnId="{359EB216-B7C1-4805-B651-44887E58DC24}">
      <dgm:prSet/>
      <dgm:spPr/>
      <dgm:t>
        <a:bodyPr/>
        <a:lstStyle/>
        <a:p>
          <a:endParaRPr lang="pt-PT"/>
        </a:p>
      </dgm:t>
    </dgm:pt>
    <dgm:pt modelId="{948CF0CC-E009-4273-87B7-98F93BFA8995}" type="sibTrans" cxnId="{359EB216-B7C1-4805-B651-44887E58DC24}">
      <dgm:prSet/>
      <dgm:spPr/>
      <dgm:t>
        <a:bodyPr/>
        <a:lstStyle/>
        <a:p>
          <a:endParaRPr lang="pt-PT"/>
        </a:p>
      </dgm:t>
    </dgm:pt>
    <dgm:pt modelId="{F0D4E953-7BC2-4931-B3C6-765F6AA9903E}">
      <dgm:prSet phldrT="[Text]"/>
      <dgm:spPr/>
      <dgm:t>
        <a:bodyPr/>
        <a:lstStyle/>
        <a:p>
          <a:r>
            <a:rPr lang="pt-PT" dirty="0" err="1"/>
            <a:t>Good</a:t>
          </a:r>
          <a:r>
            <a:rPr lang="pt-PT" dirty="0"/>
            <a:t> </a:t>
          </a:r>
          <a:r>
            <a:rPr lang="pt-PT" dirty="0" err="1"/>
            <a:t>learning</a:t>
          </a:r>
          <a:r>
            <a:rPr lang="pt-PT" dirty="0"/>
            <a:t> </a:t>
          </a:r>
          <a:r>
            <a:rPr lang="pt-PT" dirty="0" err="1"/>
            <a:t>experience</a:t>
          </a:r>
          <a:r>
            <a:rPr lang="pt-PT" dirty="0"/>
            <a:t>.</a:t>
          </a:r>
        </a:p>
      </dgm:t>
    </dgm:pt>
    <dgm:pt modelId="{7A43AC54-A2D9-41A3-A517-C69FAB322F21}" type="parTrans" cxnId="{110B86D4-3338-447F-AF71-6A8070AF1A64}">
      <dgm:prSet/>
      <dgm:spPr/>
      <dgm:t>
        <a:bodyPr/>
        <a:lstStyle/>
        <a:p>
          <a:endParaRPr lang="pt-PT"/>
        </a:p>
      </dgm:t>
    </dgm:pt>
    <dgm:pt modelId="{7FAB161C-D1A2-416B-9F84-1884B02FEBC5}" type="sibTrans" cxnId="{110B86D4-3338-447F-AF71-6A8070AF1A64}">
      <dgm:prSet/>
      <dgm:spPr/>
      <dgm:t>
        <a:bodyPr/>
        <a:lstStyle/>
        <a:p>
          <a:endParaRPr lang="pt-PT"/>
        </a:p>
      </dgm:t>
    </dgm:pt>
    <dgm:pt modelId="{EB8D9E71-9E20-4893-B9FD-84DDCA52202E}">
      <dgm:prSet phldrT="[Text]"/>
      <dgm:spPr/>
      <dgm:t>
        <a:bodyPr/>
        <a:lstStyle/>
        <a:p>
          <a:r>
            <a:rPr lang="pt-PT" dirty="0" err="1"/>
            <a:t>Other</a:t>
          </a:r>
          <a:r>
            <a:rPr lang="pt-PT" dirty="0"/>
            <a:t> </a:t>
          </a:r>
          <a:r>
            <a:rPr lang="pt-PT" dirty="0" err="1"/>
            <a:t>project</a:t>
          </a:r>
          <a:r>
            <a:rPr lang="pt-PT" dirty="0"/>
            <a:t> </a:t>
          </a:r>
          <a:r>
            <a:rPr lang="pt-PT" dirty="0" err="1"/>
            <a:t>references</a:t>
          </a:r>
          <a:r>
            <a:rPr lang="pt-PT" dirty="0"/>
            <a:t> to </a:t>
          </a:r>
          <a:r>
            <a:rPr lang="pt-PT" dirty="0" err="1"/>
            <a:t>learn</a:t>
          </a:r>
          <a:r>
            <a:rPr lang="pt-PT" dirty="0"/>
            <a:t> </a:t>
          </a:r>
          <a:r>
            <a:rPr lang="pt-PT" dirty="0" err="1"/>
            <a:t>from</a:t>
          </a:r>
          <a:r>
            <a:rPr lang="pt-PT" dirty="0"/>
            <a:t> </a:t>
          </a:r>
          <a:r>
            <a:rPr lang="pt-PT" dirty="0" err="1"/>
            <a:t>and</a:t>
          </a:r>
          <a:r>
            <a:rPr lang="pt-PT" dirty="0"/>
            <a:t> compare.</a:t>
          </a:r>
        </a:p>
      </dgm:t>
    </dgm:pt>
    <dgm:pt modelId="{895CE4CC-9E6E-46B6-A99B-0835871620BA}" type="parTrans" cxnId="{91E8982A-B95D-4A83-971C-0F8310D11ADB}">
      <dgm:prSet/>
      <dgm:spPr/>
      <dgm:t>
        <a:bodyPr/>
        <a:lstStyle/>
        <a:p>
          <a:endParaRPr lang="pt-PT"/>
        </a:p>
      </dgm:t>
    </dgm:pt>
    <dgm:pt modelId="{CC75696D-11DC-4FBE-BC83-09FCAE407479}" type="sibTrans" cxnId="{91E8982A-B95D-4A83-971C-0F8310D11ADB}">
      <dgm:prSet/>
      <dgm:spPr/>
      <dgm:t>
        <a:bodyPr/>
        <a:lstStyle/>
        <a:p>
          <a:endParaRPr lang="pt-PT"/>
        </a:p>
      </dgm:t>
    </dgm:pt>
    <dgm:pt modelId="{D6A47F8A-ED55-4A90-9258-AC0350D9C07A}" type="pres">
      <dgm:prSet presAssocID="{B7473CA6-25A3-410E-9B5F-727B1801E1D6}" presName="linearFlow" presStyleCnt="0">
        <dgm:presLayoutVars>
          <dgm:dir/>
          <dgm:animLvl val="lvl"/>
          <dgm:resizeHandles val="exact"/>
        </dgm:presLayoutVars>
      </dgm:prSet>
      <dgm:spPr/>
    </dgm:pt>
    <dgm:pt modelId="{EDBA6C22-052C-40EE-BD40-858AAC463AF3}" type="pres">
      <dgm:prSet presAssocID="{EB88300B-FCC1-4781-9094-7F02AF3FE86E}" presName="composite" presStyleCnt="0"/>
      <dgm:spPr/>
    </dgm:pt>
    <dgm:pt modelId="{A9158B6A-ED66-4862-A403-EC9C6CF8845E}" type="pres">
      <dgm:prSet presAssocID="{EB88300B-FCC1-4781-9094-7F02AF3FE86E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43FA1A48-CF60-4B3C-A2F1-3A2C2A4CD976}" type="pres">
      <dgm:prSet presAssocID="{EB88300B-FCC1-4781-9094-7F02AF3FE86E}" presName="descendantText" presStyleLbl="alignAcc1" presStyleIdx="0" presStyleCnt="3">
        <dgm:presLayoutVars>
          <dgm:bulletEnabled val="1"/>
        </dgm:presLayoutVars>
      </dgm:prSet>
      <dgm:spPr/>
    </dgm:pt>
    <dgm:pt modelId="{3DCD478B-35F8-4707-8CBF-260EDB49227A}" type="pres">
      <dgm:prSet presAssocID="{961D1448-7F37-4642-A449-5F2A4F65953C}" presName="sp" presStyleCnt="0"/>
      <dgm:spPr/>
    </dgm:pt>
    <dgm:pt modelId="{BFFE55E4-0530-4919-B73A-4FAEAF5AC59E}" type="pres">
      <dgm:prSet presAssocID="{1E4935E2-C8E3-4188-9E9E-876C879AA69F}" presName="composite" presStyleCnt="0"/>
      <dgm:spPr/>
    </dgm:pt>
    <dgm:pt modelId="{22F35C96-FCF7-4BFD-8F8C-DD3412077C54}" type="pres">
      <dgm:prSet presAssocID="{1E4935E2-C8E3-4188-9E9E-876C879AA69F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DCF30AE2-1527-4984-AB9C-9C58A436AFA9}" type="pres">
      <dgm:prSet presAssocID="{1E4935E2-C8E3-4188-9E9E-876C879AA69F}" presName="descendantText" presStyleLbl="alignAcc1" presStyleIdx="1" presStyleCnt="3">
        <dgm:presLayoutVars>
          <dgm:bulletEnabled val="1"/>
        </dgm:presLayoutVars>
      </dgm:prSet>
      <dgm:spPr/>
    </dgm:pt>
    <dgm:pt modelId="{622629B8-D425-4561-9E14-1E031C325BE4}" type="pres">
      <dgm:prSet presAssocID="{B9BDAB96-4B5E-43C8-8EA4-15D085FBDF41}" presName="sp" presStyleCnt="0"/>
      <dgm:spPr/>
    </dgm:pt>
    <dgm:pt modelId="{05998E32-ECFB-4F67-A177-1484CC91657B}" type="pres">
      <dgm:prSet presAssocID="{F46C4F3B-1D99-47F1-BD6E-C0E7133A1835}" presName="composite" presStyleCnt="0"/>
      <dgm:spPr/>
    </dgm:pt>
    <dgm:pt modelId="{480CD86F-AFFA-4602-B639-70DF7149AC39}" type="pres">
      <dgm:prSet presAssocID="{F46C4F3B-1D99-47F1-BD6E-C0E7133A1835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3BA2DD35-10E1-4880-ADD4-5713EA512191}" type="pres">
      <dgm:prSet presAssocID="{F46C4F3B-1D99-47F1-BD6E-C0E7133A1835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B3992703-B25C-4611-8856-D36B48D861DF}" type="presOf" srcId="{F0D4E953-7BC2-4931-B3C6-765F6AA9903E}" destId="{43FA1A48-CF60-4B3C-A2F1-3A2C2A4CD976}" srcOrd="0" destOrd="2" presId="urn:microsoft.com/office/officeart/2005/8/layout/chevron2"/>
    <dgm:cxn modelId="{816AC413-04AA-4C13-B3B2-B07D67D4B754}" srcId="{EB88300B-FCC1-4781-9094-7F02AF3FE86E}" destId="{FE561863-5E1C-4934-9653-6D6B30503D9B}" srcOrd="0" destOrd="0" parTransId="{01E42B77-5298-44A2-BB69-C185A06A5D65}" sibTransId="{DFAE94E0-B74C-4BC8-B2A2-0D850742D180}"/>
    <dgm:cxn modelId="{359EB216-B7C1-4805-B651-44887E58DC24}" srcId="{F46C4F3B-1D99-47F1-BD6E-C0E7133A1835}" destId="{75FC17EF-620E-4334-A90E-8B0AF51B9DFE}" srcOrd="0" destOrd="0" parTransId="{96C9B62E-7A27-4A79-97EF-13467C622223}" sibTransId="{948CF0CC-E009-4273-87B7-98F93BFA8995}"/>
    <dgm:cxn modelId="{91E8982A-B95D-4A83-971C-0F8310D11ADB}" srcId="{EB88300B-FCC1-4781-9094-7F02AF3FE86E}" destId="{EB8D9E71-9E20-4893-B9FD-84DDCA52202E}" srcOrd="3" destOrd="0" parTransId="{895CE4CC-9E6E-46B6-A99B-0835871620BA}" sibTransId="{CC75696D-11DC-4FBE-BC83-09FCAE407479}"/>
    <dgm:cxn modelId="{6AD87C2B-2796-458C-BF6B-27FA8915564A}" srcId="{B7473CA6-25A3-410E-9B5F-727B1801E1D6}" destId="{1E4935E2-C8E3-4188-9E9E-876C879AA69F}" srcOrd="1" destOrd="0" parTransId="{A5E02EDB-D7A5-4DAB-B6D5-E4F1E74013A9}" sibTransId="{B9BDAB96-4B5E-43C8-8EA4-15D085FBDF41}"/>
    <dgm:cxn modelId="{D3049335-7372-44F5-85B3-54AAAA2A4565}" type="presOf" srcId="{FE561863-5E1C-4934-9653-6D6B30503D9B}" destId="{43FA1A48-CF60-4B3C-A2F1-3A2C2A4CD976}" srcOrd="0" destOrd="0" presId="urn:microsoft.com/office/officeart/2005/8/layout/chevron2"/>
    <dgm:cxn modelId="{76370C67-3056-4961-8F4A-615CA8859195}" type="presOf" srcId="{EB8D9E71-9E20-4893-B9FD-84DDCA52202E}" destId="{43FA1A48-CF60-4B3C-A2F1-3A2C2A4CD976}" srcOrd="0" destOrd="3" presId="urn:microsoft.com/office/officeart/2005/8/layout/chevron2"/>
    <dgm:cxn modelId="{5861A851-7D4F-4CE4-946C-4E45F21296CF}" srcId="{1E4935E2-C8E3-4188-9E9E-876C879AA69F}" destId="{FE355781-AA18-4BBC-A9D0-BDB9762992D4}" srcOrd="0" destOrd="0" parTransId="{BAC35658-B4BE-4E97-9843-61D92AB64A7B}" sibTransId="{B07605D6-F049-48BD-A060-73C3B27AC7FE}"/>
    <dgm:cxn modelId="{F289D052-8886-4A41-8FD1-75E7446D6D4F}" type="presOf" srcId="{A1AE9BDC-9A4C-474C-A5C7-EE9F9A26B3F7}" destId="{43FA1A48-CF60-4B3C-A2F1-3A2C2A4CD976}" srcOrd="0" destOrd="1" presId="urn:microsoft.com/office/officeart/2005/8/layout/chevron2"/>
    <dgm:cxn modelId="{991ACF73-DFC5-4B9D-A7CF-99B47E02C758}" type="presOf" srcId="{FE355781-AA18-4BBC-A9D0-BDB9762992D4}" destId="{DCF30AE2-1527-4984-AB9C-9C58A436AFA9}" srcOrd="0" destOrd="0" presId="urn:microsoft.com/office/officeart/2005/8/layout/chevron2"/>
    <dgm:cxn modelId="{BD434D84-1AC3-491F-B168-0155B6DA1AC5}" type="presOf" srcId="{1E4935E2-C8E3-4188-9E9E-876C879AA69F}" destId="{22F35C96-FCF7-4BFD-8F8C-DD3412077C54}" srcOrd="0" destOrd="0" presId="urn:microsoft.com/office/officeart/2005/8/layout/chevron2"/>
    <dgm:cxn modelId="{570B82B9-CE31-4FE6-99B2-F5501BBFB4C8}" srcId="{EB88300B-FCC1-4781-9094-7F02AF3FE86E}" destId="{A1AE9BDC-9A4C-474C-A5C7-EE9F9A26B3F7}" srcOrd="1" destOrd="0" parTransId="{A0C2B6F8-CCB5-43C5-BE38-78FB5D3CDD07}" sibTransId="{4FBB5D60-D649-4E15-91C5-22A59E1B1F35}"/>
    <dgm:cxn modelId="{DA5E15BF-1D39-43A5-9578-58024F78C7DF}" type="presOf" srcId="{75FC17EF-620E-4334-A90E-8B0AF51B9DFE}" destId="{3BA2DD35-10E1-4880-ADD4-5713EA512191}" srcOrd="0" destOrd="0" presId="urn:microsoft.com/office/officeart/2005/8/layout/chevron2"/>
    <dgm:cxn modelId="{0F3D74C7-1C63-425F-8421-DB39E6230A72}" type="presOf" srcId="{B7473CA6-25A3-410E-9B5F-727B1801E1D6}" destId="{D6A47F8A-ED55-4A90-9258-AC0350D9C07A}" srcOrd="0" destOrd="0" presId="urn:microsoft.com/office/officeart/2005/8/layout/chevron2"/>
    <dgm:cxn modelId="{110B86D4-3338-447F-AF71-6A8070AF1A64}" srcId="{EB88300B-FCC1-4781-9094-7F02AF3FE86E}" destId="{F0D4E953-7BC2-4931-B3C6-765F6AA9903E}" srcOrd="2" destOrd="0" parTransId="{7A43AC54-A2D9-41A3-A517-C69FAB322F21}" sibTransId="{7FAB161C-D1A2-416B-9F84-1884B02FEBC5}"/>
    <dgm:cxn modelId="{5347B7D7-2F2E-4C58-A46A-8CC97EFCCADC}" type="presOf" srcId="{EB88300B-FCC1-4781-9094-7F02AF3FE86E}" destId="{A9158B6A-ED66-4862-A403-EC9C6CF8845E}" srcOrd="0" destOrd="0" presId="urn:microsoft.com/office/officeart/2005/8/layout/chevron2"/>
    <dgm:cxn modelId="{2BC528DF-B044-408F-8455-6EDCBBF4ABA0}" srcId="{B7473CA6-25A3-410E-9B5F-727B1801E1D6}" destId="{F46C4F3B-1D99-47F1-BD6E-C0E7133A1835}" srcOrd="2" destOrd="0" parTransId="{CCB92582-46BC-4C3F-922A-625568BB9167}" sibTransId="{86067616-46AA-43A6-8BDB-C9C8D2102757}"/>
    <dgm:cxn modelId="{3811A9EF-96FE-4BE6-B32C-F5A2353D75A4}" srcId="{B7473CA6-25A3-410E-9B5F-727B1801E1D6}" destId="{EB88300B-FCC1-4781-9094-7F02AF3FE86E}" srcOrd="0" destOrd="0" parTransId="{617C5609-FA9C-40F7-A753-C9DBC4A59A1D}" sibTransId="{961D1448-7F37-4642-A449-5F2A4F65953C}"/>
    <dgm:cxn modelId="{833834FC-FDFE-475A-AA7F-3E5BBB0E0ADE}" type="presOf" srcId="{F46C4F3B-1D99-47F1-BD6E-C0E7133A1835}" destId="{480CD86F-AFFA-4602-B639-70DF7149AC39}" srcOrd="0" destOrd="0" presId="urn:microsoft.com/office/officeart/2005/8/layout/chevron2"/>
    <dgm:cxn modelId="{97D0817B-FC2F-486C-8064-99A591C733CC}" type="presParOf" srcId="{D6A47F8A-ED55-4A90-9258-AC0350D9C07A}" destId="{EDBA6C22-052C-40EE-BD40-858AAC463AF3}" srcOrd="0" destOrd="0" presId="urn:microsoft.com/office/officeart/2005/8/layout/chevron2"/>
    <dgm:cxn modelId="{AB80E376-9470-4B71-AF25-99C1B37DB8CF}" type="presParOf" srcId="{EDBA6C22-052C-40EE-BD40-858AAC463AF3}" destId="{A9158B6A-ED66-4862-A403-EC9C6CF8845E}" srcOrd="0" destOrd="0" presId="urn:microsoft.com/office/officeart/2005/8/layout/chevron2"/>
    <dgm:cxn modelId="{47D30BC9-710C-4C49-B643-0407A744351C}" type="presParOf" srcId="{EDBA6C22-052C-40EE-BD40-858AAC463AF3}" destId="{43FA1A48-CF60-4B3C-A2F1-3A2C2A4CD976}" srcOrd="1" destOrd="0" presId="urn:microsoft.com/office/officeart/2005/8/layout/chevron2"/>
    <dgm:cxn modelId="{0DCC363C-EE0C-4D22-9E64-8082F593A7FC}" type="presParOf" srcId="{D6A47F8A-ED55-4A90-9258-AC0350D9C07A}" destId="{3DCD478B-35F8-4707-8CBF-260EDB49227A}" srcOrd="1" destOrd="0" presId="urn:microsoft.com/office/officeart/2005/8/layout/chevron2"/>
    <dgm:cxn modelId="{FCF1C60C-3514-43C7-8918-F3083C990ECC}" type="presParOf" srcId="{D6A47F8A-ED55-4A90-9258-AC0350D9C07A}" destId="{BFFE55E4-0530-4919-B73A-4FAEAF5AC59E}" srcOrd="2" destOrd="0" presId="urn:microsoft.com/office/officeart/2005/8/layout/chevron2"/>
    <dgm:cxn modelId="{E5BB0352-464F-4ADF-BF57-80DE23A2301A}" type="presParOf" srcId="{BFFE55E4-0530-4919-B73A-4FAEAF5AC59E}" destId="{22F35C96-FCF7-4BFD-8F8C-DD3412077C54}" srcOrd="0" destOrd="0" presId="urn:microsoft.com/office/officeart/2005/8/layout/chevron2"/>
    <dgm:cxn modelId="{9ACE403F-CCB7-48C0-BE18-390A2542FC9F}" type="presParOf" srcId="{BFFE55E4-0530-4919-B73A-4FAEAF5AC59E}" destId="{DCF30AE2-1527-4984-AB9C-9C58A436AFA9}" srcOrd="1" destOrd="0" presId="urn:microsoft.com/office/officeart/2005/8/layout/chevron2"/>
    <dgm:cxn modelId="{88ED30C2-D4E6-4A0B-9349-6A9106F9AC9E}" type="presParOf" srcId="{D6A47F8A-ED55-4A90-9258-AC0350D9C07A}" destId="{622629B8-D425-4561-9E14-1E031C325BE4}" srcOrd="3" destOrd="0" presId="urn:microsoft.com/office/officeart/2005/8/layout/chevron2"/>
    <dgm:cxn modelId="{88775618-CB43-4A09-B7C3-7E973ED793CF}" type="presParOf" srcId="{D6A47F8A-ED55-4A90-9258-AC0350D9C07A}" destId="{05998E32-ECFB-4F67-A177-1484CC91657B}" srcOrd="4" destOrd="0" presId="urn:microsoft.com/office/officeart/2005/8/layout/chevron2"/>
    <dgm:cxn modelId="{E7DF6DF8-1B1C-493F-8625-F4C7478B21C9}" type="presParOf" srcId="{05998E32-ECFB-4F67-A177-1484CC91657B}" destId="{480CD86F-AFFA-4602-B639-70DF7149AC39}" srcOrd="0" destOrd="0" presId="urn:microsoft.com/office/officeart/2005/8/layout/chevron2"/>
    <dgm:cxn modelId="{2B520E1F-A33F-46B7-9268-0C84D06528A1}" type="presParOf" srcId="{05998E32-ECFB-4F67-A177-1484CC91657B}" destId="{3BA2DD35-10E1-4880-ADD4-5713EA512191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7473CA6-25A3-410E-9B5F-727B1801E1D6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EB88300B-FCC1-4781-9094-7F02AF3FE86E}">
      <dgm:prSet phldrT="[Text]"/>
      <dgm:spPr/>
      <dgm:t>
        <a:bodyPr/>
        <a:lstStyle/>
        <a:p>
          <a:r>
            <a:rPr lang="pt-PT" dirty="0" err="1"/>
            <a:t>Good</a:t>
          </a:r>
          <a:endParaRPr lang="pt-PT" dirty="0"/>
        </a:p>
      </dgm:t>
    </dgm:pt>
    <dgm:pt modelId="{617C5609-FA9C-40F7-A753-C9DBC4A59A1D}" type="parTrans" cxnId="{3811A9EF-96FE-4BE6-B32C-F5A2353D75A4}">
      <dgm:prSet/>
      <dgm:spPr/>
      <dgm:t>
        <a:bodyPr/>
        <a:lstStyle/>
        <a:p>
          <a:endParaRPr lang="pt-PT"/>
        </a:p>
      </dgm:t>
    </dgm:pt>
    <dgm:pt modelId="{961D1448-7F37-4642-A449-5F2A4F65953C}" type="sibTrans" cxnId="{3811A9EF-96FE-4BE6-B32C-F5A2353D75A4}">
      <dgm:prSet/>
      <dgm:spPr/>
      <dgm:t>
        <a:bodyPr/>
        <a:lstStyle/>
        <a:p>
          <a:endParaRPr lang="pt-PT"/>
        </a:p>
      </dgm:t>
    </dgm:pt>
    <dgm:pt modelId="{FE561863-5E1C-4934-9653-6D6B30503D9B}">
      <dgm:prSet phldrT="[Text]"/>
      <dgm:spPr/>
      <dgm:t>
        <a:bodyPr/>
        <a:lstStyle/>
        <a:p>
          <a:r>
            <a:rPr lang="pt-PT" dirty="0" err="1"/>
            <a:t>Correct</a:t>
          </a:r>
          <a:r>
            <a:rPr lang="pt-PT" dirty="0"/>
            <a:t> </a:t>
          </a:r>
          <a:r>
            <a:rPr lang="pt-PT" dirty="0" err="1"/>
            <a:t>estimations</a:t>
          </a:r>
          <a:r>
            <a:rPr lang="pt-PT" dirty="0"/>
            <a:t>.</a:t>
          </a:r>
        </a:p>
      </dgm:t>
    </dgm:pt>
    <dgm:pt modelId="{01E42B77-5298-44A2-BB69-C185A06A5D65}" type="parTrans" cxnId="{816AC413-04AA-4C13-B3B2-B07D67D4B754}">
      <dgm:prSet/>
      <dgm:spPr/>
      <dgm:t>
        <a:bodyPr/>
        <a:lstStyle/>
        <a:p>
          <a:endParaRPr lang="pt-PT"/>
        </a:p>
      </dgm:t>
    </dgm:pt>
    <dgm:pt modelId="{DFAE94E0-B74C-4BC8-B2A2-0D850742D180}" type="sibTrans" cxnId="{816AC413-04AA-4C13-B3B2-B07D67D4B754}">
      <dgm:prSet/>
      <dgm:spPr/>
      <dgm:t>
        <a:bodyPr/>
        <a:lstStyle/>
        <a:p>
          <a:endParaRPr lang="pt-PT"/>
        </a:p>
      </dgm:t>
    </dgm:pt>
    <dgm:pt modelId="{1E4935E2-C8E3-4188-9E9E-876C879AA69F}">
      <dgm:prSet phldrT="[Text]"/>
      <dgm:spPr/>
      <dgm:t>
        <a:bodyPr/>
        <a:lstStyle/>
        <a:p>
          <a:r>
            <a:rPr lang="pt-PT" dirty="0" err="1"/>
            <a:t>Bad</a:t>
          </a:r>
          <a:endParaRPr lang="pt-PT" dirty="0"/>
        </a:p>
      </dgm:t>
    </dgm:pt>
    <dgm:pt modelId="{A5E02EDB-D7A5-4DAB-B6D5-E4F1E74013A9}" type="parTrans" cxnId="{6AD87C2B-2796-458C-BF6B-27FA8915564A}">
      <dgm:prSet/>
      <dgm:spPr/>
      <dgm:t>
        <a:bodyPr/>
        <a:lstStyle/>
        <a:p>
          <a:endParaRPr lang="pt-PT"/>
        </a:p>
      </dgm:t>
    </dgm:pt>
    <dgm:pt modelId="{B9BDAB96-4B5E-43C8-8EA4-15D085FBDF41}" type="sibTrans" cxnId="{6AD87C2B-2796-458C-BF6B-27FA8915564A}">
      <dgm:prSet/>
      <dgm:spPr/>
      <dgm:t>
        <a:bodyPr/>
        <a:lstStyle/>
        <a:p>
          <a:endParaRPr lang="pt-PT"/>
        </a:p>
      </dgm:t>
    </dgm:pt>
    <dgm:pt modelId="{FE355781-AA18-4BBC-A9D0-BDB9762992D4}">
      <dgm:prSet phldrT="[Text]"/>
      <dgm:spPr/>
      <dgm:t>
        <a:bodyPr/>
        <a:lstStyle/>
        <a:p>
          <a:endParaRPr lang="pt-PT" dirty="0"/>
        </a:p>
      </dgm:t>
    </dgm:pt>
    <dgm:pt modelId="{BAC35658-B4BE-4E97-9843-61D92AB64A7B}" type="parTrans" cxnId="{5861A851-7D4F-4CE4-946C-4E45F21296CF}">
      <dgm:prSet/>
      <dgm:spPr/>
      <dgm:t>
        <a:bodyPr/>
        <a:lstStyle/>
        <a:p>
          <a:endParaRPr lang="pt-PT"/>
        </a:p>
      </dgm:t>
    </dgm:pt>
    <dgm:pt modelId="{B07605D6-F049-48BD-A060-73C3B27AC7FE}" type="sibTrans" cxnId="{5861A851-7D4F-4CE4-946C-4E45F21296CF}">
      <dgm:prSet/>
      <dgm:spPr/>
      <dgm:t>
        <a:bodyPr/>
        <a:lstStyle/>
        <a:p>
          <a:endParaRPr lang="pt-PT"/>
        </a:p>
      </dgm:t>
    </dgm:pt>
    <dgm:pt modelId="{F46C4F3B-1D99-47F1-BD6E-C0E7133A1835}">
      <dgm:prSet phldrT="[Text]"/>
      <dgm:spPr/>
      <dgm:t>
        <a:bodyPr/>
        <a:lstStyle/>
        <a:p>
          <a:r>
            <a:rPr lang="pt-PT" dirty="0"/>
            <a:t>Improve</a:t>
          </a:r>
        </a:p>
      </dgm:t>
    </dgm:pt>
    <dgm:pt modelId="{CCB92582-46BC-4C3F-922A-625568BB9167}" type="parTrans" cxnId="{2BC528DF-B044-408F-8455-6EDCBBF4ABA0}">
      <dgm:prSet/>
      <dgm:spPr/>
      <dgm:t>
        <a:bodyPr/>
        <a:lstStyle/>
        <a:p>
          <a:endParaRPr lang="pt-PT"/>
        </a:p>
      </dgm:t>
    </dgm:pt>
    <dgm:pt modelId="{86067616-46AA-43A6-8BDB-C9C8D2102757}" type="sibTrans" cxnId="{2BC528DF-B044-408F-8455-6EDCBBF4ABA0}">
      <dgm:prSet/>
      <dgm:spPr/>
      <dgm:t>
        <a:bodyPr/>
        <a:lstStyle/>
        <a:p>
          <a:endParaRPr lang="pt-PT"/>
        </a:p>
      </dgm:t>
    </dgm:pt>
    <dgm:pt modelId="{75FC17EF-620E-4334-A90E-8B0AF51B9DFE}">
      <dgm:prSet phldrT="[Text]"/>
      <dgm:spPr/>
      <dgm:t>
        <a:bodyPr/>
        <a:lstStyle/>
        <a:p>
          <a:endParaRPr lang="pt-PT" dirty="0"/>
        </a:p>
      </dgm:t>
    </dgm:pt>
    <dgm:pt modelId="{96C9B62E-7A27-4A79-97EF-13467C622223}" type="parTrans" cxnId="{359EB216-B7C1-4805-B651-44887E58DC24}">
      <dgm:prSet/>
      <dgm:spPr/>
      <dgm:t>
        <a:bodyPr/>
        <a:lstStyle/>
        <a:p>
          <a:endParaRPr lang="pt-PT"/>
        </a:p>
      </dgm:t>
    </dgm:pt>
    <dgm:pt modelId="{948CF0CC-E009-4273-87B7-98F93BFA8995}" type="sibTrans" cxnId="{359EB216-B7C1-4805-B651-44887E58DC24}">
      <dgm:prSet/>
      <dgm:spPr/>
      <dgm:t>
        <a:bodyPr/>
        <a:lstStyle/>
        <a:p>
          <a:endParaRPr lang="pt-PT"/>
        </a:p>
      </dgm:t>
    </dgm:pt>
    <dgm:pt modelId="{09CED960-5A37-4F59-A20F-8F39298A6281}">
      <dgm:prSet phldrT="[Text]"/>
      <dgm:spPr/>
      <dgm:t>
        <a:bodyPr/>
        <a:lstStyle/>
        <a:p>
          <a:endParaRPr lang="pt-PT" dirty="0"/>
        </a:p>
      </dgm:t>
    </dgm:pt>
    <dgm:pt modelId="{E9B1AF1D-B16A-443E-9281-69722C6E4976}" type="parTrans" cxnId="{621B4909-DF9F-46A5-A242-DDACF1C06EEF}">
      <dgm:prSet/>
      <dgm:spPr/>
    </dgm:pt>
    <dgm:pt modelId="{6688E867-ABDE-45ED-B2D1-AB478C330FB3}" type="sibTrans" cxnId="{621B4909-DF9F-46A5-A242-DDACF1C06EEF}">
      <dgm:prSet/>
      <dgm:spPr/>
    </dgm:pt>
    <dgm:pt modelId="{D6A47F8A-ED55-4A90-9258-AC0350D9C07A}" type="pres">
      <dgm:prSet presAssocID="{B7473CA6-25A3-410E-9B5F-727B1801E1D6}" presName="linearFlow" presStyleCnt="0">
        <dgm:presLayoutVars>
          <dgm:dir/>
          <dgm:animLvl val="lvl"/>
          <dgm:resizeHandles val="exact"/>
        </dgm:presLayoutVars>
      </dgm:prSet>
      <dgm:spPr/>
    </dgm:pt>
    <dgm:pt modelId="{EDBA6C22-052C-40EE-BD40-858AAC463AF3}" type="pres">
      <dgm:prSet presAssocID="{EB88300B-FCC1-4781-9094-7F02AF3FE86E}" presName="composite" presStyleCnt="0"/>
      <dgm:spPr/>
    </dgm:pt>
    <dgm:pt modelId="{A9158B6A-ED66-4862-A403-EC9C6CF8845E}" type="pres">
      <dgm:prSet presAssocID="{EB88300B-FCC1-4781-9094-7F02AF3FE86E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43FA1A48-CF60-4B3C-A2F1-3A2C2A4CD976}" type="pres">
      <dgm:prSet presAssocID="{EB88300B-FCC1-4781-9094-7F02AF3FE86E}" presName="descendantText" presStyleLbl="alignAcc1" presStyleIdx="0" presStyleCnt="3">
        <dgm:presLayoutVars>
          <dgm:bulletEnabled val="1"/>
        </dgm:presLayoutVars>
      </dgm:prSet>
      <dgm:spPr/>
    </dgm:pt>
    <dgm:pt modelId="{3DCD478B-35F8-4707-8CBF-260EDB49227A}" type="pres">
      <dgm:prSet presAssocID="{961D1448-7F37-4642-A449-5F2A4F65953C}" presName="sp" presStyleCnt="0"/>
      <dgm:spPr/>
    </dgm:pt>
    <dgm:pt modelId="{BFFE55E4-0530-4919-B73A-4FAEAF5AC59E}" type="pres">
      <dgm:prSet presAssocID="{1E4935E2-C8E3-4188-9E9E-876C879AA69F}" presName="composite" presStyleCnt="0"/>
      <dgm:spPr/>
    </dgm:pt>
    <dgm:pt modelId="{22F35C96-FCF7-4BFD-8F8C-DD3412077C54}" type="pres">
      <dgm:prSet presAssocID="{1E4935E2-C8E3-4188-9E9E-876C879AA69F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DCF30AE2-1527-4984-AB9C-9C58A436AFA9}" type="pres">
      <dgm:prSet presAssocID="{1E4935E2-C8E3-4188-9E9E-876C879AA69F}" presName="descendantText" presStyleLbl="alignAcc1" presStyleIdx="1" presStyleCnt="3" custLinFactNeighborX="0" custLinFactNeighborY="0">
        <dgm:presLayoutVars>
          <dgm:bulletEnabled val="1"/>
        </dgm:presLayoutVars>
      </dgm:prSet>
      <dgm:spPr/>
    </dgm:pt>
    <dgm:pt modelId="{622629B8-D425-4561-9E14-1E031C325BE4}" type="pres">
      <dgm:prSet presAssocID="{B9BDAB96-4B5E-43C8-8EA4-15D085FBDF41}" presName="sp" presStyleCnt="0"/>
      <dgm:spPr/>
    </dgm:pt>
    <dgm:pt modelId="{05998E32-ECFB-4F67-A177-1484CC91657B}" type="pres">
      <dgm:prSet presAssocID="{F46C4F3B-1D99-47F1-BD6E-C0E7133A1835}" presName="composite" presStyleCnt="0"/>
      <dgm:spPr/>
    </dgm:pt>
    <dgm:pt modelId="{480CD86F-AFFA-4602-B639-70DF7149AC39}" type="pres">
      <dgm:prSet presAssocID="{F46C4F3B-1D99-47F1-BD6E-C0E7133A1835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3BA2DD35-10E1-4880-ADD4-5713EA512191}" type="pres">
      <dgm:prSet presAssocID="{F46C4F3B-1D99-47F1-BD6E-C0E7133A1835}" presName="descendantText" presStyleLbl="alignAcc1" presStyleIdx="2" presStyleCnt="3" custLinFactNeighborY="0">
        <dgm:presLayoutVars>
          <dgm:bulletEnabled val="1"/>
        </dgm:presLayoutVars>
      </dgm:prSet>
      <dgm:spPr/>
    </dgm:pt>
  </dgm:ptLst>
  <dgm:cxnLst>
    <dgm:cxn modelId="{621B4909-DF9F-46A5-A242-DDACF1C06EEF}" srcId="{EB88300B-FCC1-4781-9094-7F02AF3FE86E}" destId="{09CED960-5A37-4F59-A20F-8F39298A6281}" srcOrd="1" destOrd="0" parTransId="{E9B1AF1D-B16A-443E-9281-69722C6E4976}" sibTransId="{6688E867-ABDE-45ED-B2D1-AB478C330FB3}"/>
    <dgm:cxn modelId="{816AC413-04AA-4C13-B3B2-B07D67D4B754}" srcId="{EB88300B-FCC1-4781-9094-7F02AF3FE86E}" destId="{FE561863-5E1C-4934-9653-6D6B30503D9B}" srcOrd="0" destOrd="0" parTransId="{01E42B77-5298-44A2-BB69-C185A06A5D65}" sibTransId="{DFAE94E0-B74C-4BC8-B2A2-0D850742D180}"/>
    <dgm:cxn modelId="{359EB216-B7C1-4805-B651-44887E58DC24}" srcId="{F46C4F3B-1D99-47F1-BD6E-C0E7133A1835}" destId="{75FC17EF-620E-4334-A90E-8B0AF51B9DFE}" srcOrd="0" destOrd="0" parTransId="{96C9B62E-7A27-4A79-97EF-13467C622223}" sibTransId="{948CF0CC-E009-4273-87B7-98F93BFA8995}"/>
    <dgm:cxn modelId="{6AD87C2B-2796-458C-BF6B-27FA8915564A}" srcId="{B7473CA6-25A3-410E-9B5F-727B1801E1D6}" destId="{1E4935E2-C8E3-4188-9E9E-876C879AA69F}" srcOrd="1" destOrd="0" parTransId="{A5E02EDB-D7A5-4DAB-B6D5-E4F1E74013A9}" sibTransId="{B9BDAB96-4B5E-43C8-8EA4-15D085FBDF41}"/>
    <dgm:cxn modelId="{D3049335-7372-44F5-85B3-54AAAA2A4565}" type="presOf" srcId="{FE561863-5E1C-4934-9653-6D6B30503D9B}" destId="{43FA1A48-CF60-4B3C-A2F1-3A2C2A4CD976}" srcOrd="0" destOrd="0" presId="urn:microsoft.com/office/officeart/2005/8/layout/chevron2"/>
    <dgm:cxn modelId="{5861A851-7D4F-4CE4-946C-4E45F21296CF}" srcId="{1E4935E2-C8E3-4188-9E9E-876C879AA69F}" destId="{FE355781-AA18-4BBC-A9D0-BDB9762992D4}" srcOrd="0" destOrd="0" parTransId="{BAC35658-B4BE-4E97-9843-61D92AB64A7B}" sibTransId="{B07605D6-F049-48BD-A060-73C3B27AC7FE}"/>
    <dgm:cxn modelId="{991ACF73-DFC5-4B9D-A7CF-99B47E02C758}" type="presOf" srcId="{FE355781-AA18-4BBC-A9D0-BDB9762992D4}" destId="{DCF30AE2-1527-4984-AB9C-9C58A436AFA9}" srcOrd="0" destOrd="0" presId="urn:microsoft.com/office/officeart/2005/8/layout/chevron2"/>
    <dgm:cxn modelId="{BD434D84-1AC3-491F-B168-0155B6DA1AC5}" type="presOf" srcId="{1E4935E2-C8E3-4188-9E9E-876C879AA69F}" destId="{22F35C96-FCF7-4BFD-8F8C-DD3412077C54}" srcOrd="0" destOrd="0" presId="urn:microsoft.com/office/officeart/2005/8/layout/chevron2"/>
    <dgm:cxn modelId="{4743009C-76E2-4ED1-9013-FE42E2F1A27E}" type="presOf" srcId="{09CED960-5A37-4F59-A20F-8F39298A6281}" destId="{43FA1A48-CF60-4B3C-A2F1-3A2C2A4CD976}" srcOrd="0" destOrd="1" presId="urn:microsoft.com/office/officeart/2005/8/layout/chevron2"/>
    <dgm:cxn modelId="{DA5E15BF-1D39-43A5-9578-58024F78C7DF}" type="presOf" srcId="{75FC17EF-620E-4334-A90E-8B0AF51B9DFE}" destId="{3BA2DD35-10E1-4880-ADD4-5713EA512191}" srcOrd="0" destOrd="0" presId="urn:microsoft.com/office/officeart/2005/8/layout/chevron2"/>
    <dgm:cxn modelId="{0F3D74C7-1C63-425F-8421-DB39E6230A72}" type="presOf" srcId="{B7473CA6-25A3-410E-9B5F-727B1801E1D6}" destId="{D6A47F8A-ED55-4A90-9258-AC0350D9C07A}" srcOrd="0" destOrd="0" presId="urn:microsoft.com/office/officeart/2005/8/layout/chevron2"/>
    <dgm:cxn modelId="{5347B7D7-2F2E-4C58-A46A-8CC97EFCCADC}" type="presOf" srcId="{EB88300B-FCC1-4781-9094-7F02AF3FE86E}" destId="{A9158B6A-ED66-4862-A403-EC9C6CF8845E}" srcOrd="0" destOrd="0" presId="urn:microsoft.com/office/officeart/2005/8/layout/chevron2"/>
    <dgm:cxn modelId="{2BC528DF-B044-408F-8455-6EDCBBF4ABA0}" srcId="{B7473CA6-25A3-410E-9B5F-727B1801E1D6}" destId="{F46C4F3B-1D99-47F1-BD6E-C0E7133A1835}" srcOrd="2" destOrd="0" parTransId="{CCB92582-46BC-4C3F-922A-625568BB9167}" sibTransId="{86067616-46AA-43A6-8BDB-C9C8D2102757}"/>
    <dgm:cxn modelId="{3811A9EF-96FE-4BE6-B32C-F5A2353D75A4}" srcId="{B7473CA6-25A3-410E-9B5F-727B1801E1D6}" destId="{EB88300B-FCC1-4781-9094-7F02AF3FE86E}" srcOrd="0" destOrd="0" parTransId="{617C5609-FA9C-40F7-A753-C9DBC4A59A1D}" sibTransId="{961D1448-7F37-4642-A449-5F2A4F65953C}"/>
    <dgm:cxn modelId="{833834FC-FDFE-475A-AA7F-3E5BBB0E0ADE}" type="presOf" srcId="{F46C4F3B-1D99-47F1-BD6E-C0E7133A1835}" destId="{480CD86F-AFFA-4602-B639-70DF7149AC39}" srcOrd="0" destOrd="0" presId="urn:microsoft.com/office/officeart/2005/8/layout/chevron2"/>
    <dgm:cxn modelId="{97D0817B-FC2F-486C-8064-99A591C733CC}" type="presParOf" srcId="{D6A47F8A-ED55-4A90-9258-AC0350D9C07A}" destId="{EDBA6C22-052C-40EE-BD40-858AAC463AF3}" srcOrd="0" destOrd="0" presId="urn:microsoft.com/office/officeart/2005/8/layout/chevron2"/>
    <dgm:cxn modelId="{AB80E376-9470-4B71-AF25-99C1B37DB8CF}" type="presParOf" srcId="{EDBA6C22-052C-40EE-BD40-858AAC463AF3}" destId="{A9158B6A-ED66-4862-A403-EC9C6CF8845E}" srcOrd="0" destOrd="0" presId="urn:microsoft.com/office/officeart/2005/8/layout/chevron2"/>
    <dgm:cxn modelId="{47D30BC9-710C-4C49-B643-0407A744351C}" type="presParOf" srcId="{EDBA6C22-052C-40EE-BD40-858AAC463AF3}" destId="{43FA1A48-CF60-4B3C-A2F1-3A2C2A4CD976}" srcOrd="1" destOrd="0" presId="urn:microsoft.com/office/officeart/2005/8/layout/chevron2"/>
    <dgm:cxn modelId="{0DCC363C-EE0C-4D22-9E64-8082F593A7FC}" type="presParOf" srcId="{D6A47F8A-ED55-4A90-9258-AC0350D9C07A}" destId="{3DCD478B-35F8-4707-8CBF-260EDB49227A}" srcOrd="1" destOrd="0" presId="urn:microsoft.com/office/officeart/2005/8/layout/chevron2"/>
    <dgm:cxn modelId="{FCF1C60C-3514-43C7-8918-F3083C990ECC}" type="presParOf" srcId="{D6A47F8A-ED55-4A90-9258-AC0350D9C07A}" destId="{BFFE55E4-0530-4919-B73A-4FAEAF5AC59E}" srcOrd="2" destOrd="0" presId="urn:microsoft.com/office/officeart/2005/8/layout/chevron2"/>
    <dgm:cxn modelId="{E5BB0352-464F-4ADF-BF57-80DE23A2301A}" type="presParOf" srcId="{BFFE55E4-0530-4919-B73A-4FAEAF5AC59E}" destId="{22F35C96-FCF7-4BFD-8F8C-DD3412077C54}" srcOrd="0" destOrd="0" presId="urn:microsoft.com/office/officeart/2005/8/layout/chevron2"/>
    <dgm:cxn modelId="{9ACE403F-CCB7-48C0-BE18-390A2542FC9F}" type="presParOf" srcId="{BFFE55E4-0530-4919-B73A-4FAEAF5AC59E}" destId="{DCF30AE2-1527-4984-AB9C-9C58A436AFA9}" srcOrd="1" destOrd="0" presId="urn:microsoft.com/office/officeart/2005/8/layout/chevron2"/>
    <dgm:cxn modelId="{88ED30C2-D4E6-4A0B-9349-6A9106F9AC9E}" type="presParOf" srcId="{D6A47F8A-ED55-4A90-9258-AC0350D9C07A}" destId="{622629B8-D425-4561-9E14-1E031C325BE4}" srcOrd="3" destOrd="0" presId="urn:microsoft.com/office/officeart/2005/8/layout/chevron2"/>
    <dgm:cxn modelId="{88775618-CB43-4A09-B7C3-7E973ED793CF}" type="presParOf" srcId="{D6A47F8A-ED55-4A90-9258-AC0350D9C07A}" destId="{05998E32-ECFB-4F67-A177-1484CC91657B}" srcOrd="4" destOrd="0" presId="urn:microsoft.com/office/officeart/2005/8/layout/chevron2"/>
    <dgm:cxn modelId="{E7DF6DF8-1B1C-493F-8625-F4C7478B21C9}" type="presParOf" srcId="{05998E32-ECFB-4F67-A177-1484CC91657B}" destId="{480CD86F-AFFA-4602-B639-70DF7149AC39}" srcOrd="0" destOrd="0" presId="urn:microsoft.com/office/officeart/2005/8/layout/chevron2"/>
    <dgm:cxn modelId="{2B520E1F-A33F-46B7-9268-0C84D06528A1}" type="presParOf" srcId="{05998E32-ECFB-4F67-A177-1484CC91657B}" destId="{3BA2DD35-10E1-4880-ADD4-5713EA512191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158B6A-ED66-4862-A403-EC9C6CF8845E}">
      <dsp:nvSpPr>
        <dsp:cNvPr id="0" name=""/>
        <dsp:cNvSpPr/>
      </dsp:nvSpPr>
      <dsp:spPr>
        <a:xfrm rot="5400000">
          <a:off x="-245276" y="246006"/>
          <a:ext cx="1635174" cy="11446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2500" kern="1200" dirty="0" err="1"/>
            <a:t>Good</a:t>
          </a:r>
          <a:endParaRPr lang="pt-PT" sz="2500" kern="1200" dirty="0"/>
        </a:p>
      </dsp:txBody>
      <dsp:txXfrm rot="-5400000">
        <a:off x="1" y="573041"/>
        <a:ext cx="1144621" cy="490553"/>
      </dsp:txXfrm>
    </dsp:sp>
    <dsp:sp modelId="{43FA1A48-CF60-4B3C-A2F1-3A2C2A4CD976}">
      <dsp:nvSpPr>
        <dsp:cNvPr id="0" name=""/>
        <dsp:cNvSpPr/>
      </dsp:nvSpPr>
      <dsp:spPr>
        <a:xfrm rot="5400000">
          <a:off x="5169647" y="-4024294"/>
          <a:ext cx="1062863" cy="91129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PT" sz="1400" kern="1200" dirty="0" err="1"/>
            <a:t>All</a:t>
          </a:r>
          <a:r>
            <a:rPr lang="pt-PT" sz="1400" kern="1200" dirty="0"/>
            <a:t> </a:t>
          </a:r>
          <a:r>
            <a:rPr lang="pt-PT" sz="1400" kern="1200" dirty="0" err="1"/>
            <a:t>tasks</a:t>
          </a:r>
          <a:r>
            <a:rPr lang="pt-PT" sz="1400" kern="1200" dirty="0"/>
            <a:t> </a:t>
          </a:r>
          <a:r>
            <a:rPr lang="pt-PT" sz="1400" kern="1200" dirty="0" err="1"/>
            <a:t>completed</a:t>
          </a:r>
          <a:r>
            <a:rPr lang="pt-PT" sz="1400" kern="1200" dirty="0"/>
            <a:t> </a:t>
          </a:r>
          <a:r>
            <a:rPr lang="pt-PT" sz="1400" kern="1200" dirty="0" err="1"/>
            <a:t>sucessfully</a:t>
          </a:r>
          <a:r>
            <a:rPr lang="pt-PT" sz="1400" kern="1200" dirty="0"/>
            <a:t>.	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PT" sz="1400" kern="1200" dirty="0" err="1"/>
            <a:t>Promptly</a:t>
          </a:r>
          <a:r>
            <a:rPr lang="pt-PT" sz="1400" kern="1200" dirty="0"/>
            <a:t> </a:t>
          </a:r>
          <a:r>
            <a:rPr lang="pt-PT" sz="1400" kern="1200" dirty="0" err="1"/>
            <a:t>support</a:t>
          </a:r>
          <a:r>
            <a:rPr lang="pt-PT" sz="1400" kern="1200" dirty="0"/>
            <a:t> </a:t>
          </a:r>
          <a:r>
            <a:rPr lang="pt-PT" sz="1400" kern="1200" dirty="0" err="1"/>
            <a:t>from</a:t>
          </a:r>
          <a:r>
            <a:rPr lang="pt-PT" sz="1400" kern="1200" dirty="0"/>
            <a:t> </a:t>
          </a:r>
          <a:r>
            <a:rPr lang="pt-PT" sz="1400" kern="1200" dirty="0" err="1"/>
            <a:t>the</a:t>
          </a:r>
          <a:r>
            <a:rPr lang="pt-PT" sz="1400" kern="1200" dirty="0"/>
            <a:t> team.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PT" sz="1400" kern="1200" dirty="0" err="1"/>
            <a:t>Good</a:t>
          </a:r>
          <a:r>
            <a:rPr lang="pt-PT" sz="1400" kern="1200" dirty="0"/>
            <a:t> </a:t>
          </a:r>
          <a:r>
            <a:rPr lang="pt-PT" sz="1400" kern="1200" dirty="0" err="1"/>
            <a:t>learning</a:t>
          </a:r>
          <a:r>
            <a:rPr lang="pt-PT" sz="1400" kern="1200" dirty="0"/>
            <a:t> </a:t>
          </a:r>
          <a:r>
            <a:rPr lang="pt-PT" sz="1400" kern="1200" dirty="0" err="1"/>
            <a:t>experience</a:t>
          </a:r>
          <a:r>
            <a:rPr lang="pt-PT" sz="1400" kern="1200" dirty="0"/>
            <a:t>.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PT" sz="1400" kern="1200" dirty="0" err="1"/>
            <a:t>Other</a:t>
          </a:r>
          <a:r>
            <a:rPr lang="pt-PT" sz="1400" kern="1200" dirty="0"/>
            <a:t> </a:t>
          </a:r>
          <a:r>
            <a:rPr lang="pt-PT" sz="1400" kern="1200" dirty="0" err="1"/>
            <a:t>project</a:t>
          </a:r>
          <a:r>
            <a:rPr lang="pt-PT" sz="1400" kern="1200" dirty="0"/>
            <a:t> </a:t>
          </a:r>
          <a:r>
            <a:rPr lang="pt-PT" sz="1400" kern="1200" dirty="0" err="1"/>
            <a:t>references</a:t>
          </a:r>
          <a:r>
            <a:rPr lang="pt-PT" sz="1400" kern="1200" dirty="0"/>
            <a:t> to </a:t>
          </a:r>
          <a:r>
            <a:rPr lang="pt-PT" sz="1400" kern="1200" dirty="0" err="1"/>
            <a:t>learn</a:t>
          </a:r>
          <a:r>
            <a:rPr lang="pt-PT" sz="1400" kern="1200" dirty="0"/>
            <a:t> </a:t>
          </a:r>
          <a:r>
            <a:rPr lang="pt-PT" sz="1400" kern="1200" dirty="0" err="1"/>
            <a:t>from</a:t>
          </a:r>
          <a:r>
            <a:rPr lang="pt-PT" sz="1400" kern="1200" dirty="0"/>
            <a:t> </a:t>
          </a:r>
          <a:r>
            <a:rPr lang="pt-PT" sz="1400" kern="1200" dirty="0" err="1"/>
            <a:t>and</a:t>
          </a:r>
          <a:r>
            <a:rPr lang="pt-PT" sz="1400" kern="1200" dirty="0"/>
            <a:t> compare.</a:t>
          </a:r>
        </a:p>
      </dsp:txBody>
      <dsp:txXfrm rot="-5400000">
        <a:off x="1144622" y="52616"/>
        <a:ext cx="9061029" cy="959093"/>
      </dsp:txXfrm>
    </dsp:sp>
    <dsp:sp modelId="{22F35C96-FCF7-4BFD-8F8C-DD3412077C54}">
      <dsp:nvSpPr>
        <dsp:cNvPr id="0" name=""/>
        <dsp:cNvSpPr/>
      </dsp:nvSpPr>
      <dsp:spPr>
        <a:xfrm rot="5400000">
          <a:off x="-245276" y="1687363"/>
          <a:ext cx="1635174" cy="11446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2500" kern="1200" dirty="0" err="1"/>
            <a:t>Bad</a:t>
          </a:r>
          <a:endParaRPr lang="pt-PT" sz="2500" kern="1200" dirty="0"/>
        </a:p>
      </dsp:txBody>
      <dsp:txXfrm rot="-5400000">
        <a:off x="1" y="2014398"/>
        <a:ext cx="1144621" cy="490553"/>
      </dsp:txXfrm>
    </dsp:sp>
    <dsp:sp modelId="{DCF30AE2-1527-4984-AB9C-9C58A436AFA9}">
      <dsp:nvSpPr>
        <dsp:cNvPr id="0" name=""/>
        <dsp:cNvSpPr/>
      </dsp:nvSpPr>
      <dsp:spPr>
        <a:xfrm rot="5400000">
          <a:off x="5169647" y="-2582938"/>
          <a:ext cx="1062863" cy="91129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PT" sz="1400" kern="1200" dirty="0"/>
            <a:t>Time management </a:t>
          </a:r>
          <a:r>
            <a:rPr lang="pt-PT" sz="1400" kern="1200" dirty="0" err="1"/>
            <a:t>when</a:t>
          </a:r>
          <a:r>
            <a:rPr lang="pt-PT" sz="1400" kern="1200" dirty="0"/>
            <a:t> </a:t>
          </a:r>
          <a:r>
            <a:rPr lang="pt-PT" sz="1400" kern="1200" dirty="0" err="1"/>
            <a:t>learning</a:t>
          </a:r>
          <a:r>
            <a:rPr lang="pt-PT" sz="1400" kern="1200" dirty="0"/>
            <a:t> </a:t>
          </a:r>
          <a:r>
            <a:rPr lang="pt-PT" sz="1400" kern="1200" dirty="0" err="1"/>
            <a:t>the</a:t>
          </a:r>
          <a:r>
            <a:rPr lang="pt-PT" sz="1400" kern="1200" dirty="0"/>
            <a:t> </a:t>
          </a:r>
          <a:r>
            <a:rPr lang="pt-PT" sz="1400" kern="1200" dirty="0" err="1"/>
            <a:t>tool’s</a:t>
          </a:r>
          <a:r>
            <a:rPr lang="pt-PT" sz="1400" kern="1200" dirty="0"/>
            <a:t> </a:t>
          </a:r>
          <a:r>
            <a:rPr lang="pt-PT" sz="1400" kern="1200" dirty="0" err="1"/>
            <a:t>features</a:t>
          </a:r>
          <a:r>
            <a:rPr lang="pt-PT" sz="1400" kern="1200" dirty="0"/>
            <a:t>.</a:t>
          </a:r>
        </a:p>
      </dsp:txBody>
      <dsp:txXfrm rot="-5400000">
        <a:off x="1144622" y="1493972"/>
        <a:ext cx="9061029" cy="959093"/>
      </dsp:txXfrm>
    </dsp:sp>
    <dsp:sp modelId="{480CD86F-AFFA-4602-B639-70DF7149AC39}">
      <dsp:nvSpPr>
        <dsp:cNvPr id="0" name=""/>
        <dsp:cNvSpPr/>
      </dsp:nvSpPr>
      <dsp:spPr>
        <a:xfrm rot="5400000">
          <a:off x="-245276" y="3128719"/>
          <a:ext cx="1635174" cy="11446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2500" kern="1200" dirty="0"/>
            <a:t>Improve</a:t>
          </a:r>
        </a:p>
      </dsp:txBody>
      <dsp:txXfrm rot="-5400000">
        <a:off x="1" y="3455754"/>
        <a:ext cx="1144621" cy="490553"/>
      </dsp:txXfrm>
    </dsp:sp>
    <dsp:sp modelId="{3BA2DD35-10E1-4880-ADD4-5713EA512191}">
      <dsp:nvSpPr>
        <dsp:cNvPr id="0" name=""/>
        <dsp:cNvSpPr/>
      </dsp:nvSpPr>
      <dsp:spPr>
        <a:xfrm rot="5400000">
          <a:off x="5169647" y="-1141582"/>
          <a:ext cx="1062863" cy="91129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PT" sz="1400" kern="1200" dirty="0" err="1"/>
            <a:t>Proficiency</a:t>
          </a:r>
          <a:r>
            <a:rPr lang="pt-PT" sz="1400" kern="1200" dirty="0"/>
            <a:t> </a:t>
          </a:r>
          <a:r>
            <a:rPr lang="pt-PT" sz="1400" kern="1200" dirty="0" err="1"/>
            <a:t>with</a:t>
          </a:r>
          <a:r>
            <a:rPr lang="pt-PT" sz="1400" kern="1200" dirty="0"/>
            <a:t> </a:t>
          </a:r>
          <a:r>
            <a:rPr lang="pt-PT" sz="1400" kern="1200" dirty="0" err="1"/>
            <a:t>the</a:t>
          </a:r>
          <a:r>
            <a:rPr lang="pt-PT" sz="1400" kern="1200" dirty="0"/>
            <a:t> </a:t>
          </a:r>
          <a:r>
            <a:rPr lang="pt-PT" sz="1400" kern="1200" dirty="0" err="1"/>
            <a:t>automation</a:t>
          </a:r>
          <a:r>
            <a:rPr lang="pt-PT" sz="1400" kern="1200" dirty="0"/>
            <a:t> </a:t>
          </a:r>
          <a:r>
            <a:rPr lang="pt-PT" sz="1400" kern="1200" dirty="0" err="1"/>
            <a:t>tool</a:t>
          </a:r>
          <a:r>
            <a:rPr lang="pt-PT" sz="1400" kern="1200" dirty="0"/>
            <a:t>.</a:t>
          </a:r>
        </a:p>
      </dsp:txBody>
      <dsp:txXfrm rot="-5400000">
        <a:off x="1144622" y="2935328"/>
        <a:ext cx="9061029" cy="95909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158B6A-ED66-4862-A403-EC9C6CF8845E}">
      <dsp:nvSpPr>
        <dsp:cNvPr id="0" name=""/>
        <dsp:cNvSpPr/>
      </dsp:nvSpPr>
      <dsp:spPr>
        <a:xfrm rot="5400000">
          <a:off x="-245276" y="246006"/>
          <a:ext cx="1635174" cy="11446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2500" kern="1200" dirty="0" err="1"/>
            <a:t>Good</a:t>
          </a:r>
          <a:endParaRPr lang="pt-PT" sz="2500" kern="1200" dirty="0"/>
        </a:p>
      </dsp:txBody>
      <dsp:txXfrm rot="-5400000">
        <a:off x="1" y="573041"/>
        <a:ext cx="1144621" cy="490553"/>
      </dsp:txXfrm>
    </dsp:sp>
    <dsp:sp modelId="{43FA1A48-CF60-4B3C-A2F1-3A2C2A4CD976}">
      <dsp:nvSpPr>
        <dsp:cNvPr id="0" name=""/>
        <dsp:cNvSpPr/>
      </dsp:nvSpPr>
      <dsp:spPr>
        <a:xfrm rot="5400000">
          <a:off x="5169647" y="-4024294"/>
          <a:ext cx="1062863" cy="91129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19050" rIns="19050" bIns="19050" numCol="1" spcCol="1270" anchor="ctr" anchorCtr="0">
          <a:noAutofit/>
        </a:bodyPr>
        <a:lstStyle/>
        <a:p>
          <a:pPr marL="285750" lvl="1" indent="-285750" algn="l" defTabSz="1333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PT" sz="3000" kern="1200" dirty="0" err="1"/>
            <a:t>Correct</a:t>
          </a:r>
          <a:r>
            <a:rPr lang="pt-PT" sz="3000" kern="1200" dirty="0"/>
            <a:t> </a:t>
          </a:r>
          <a:r>
            <a:rPr lang="pt-PT" sz="3000" kern="1200" dirty="0" err="1"/>
            <a:t>estimations</a:t>
          </a:r>
          <a:r>
            <a:rPr lang="pt-PT" sz="3000" kern="1200" dirty="0"/>
            <a:t>.</a:t>
          </a:r>
        </a:p>
        <a:p>
          <a:pPr marL="285750" lvl="1" indent="-285750" algn="l" defTabSz="1333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pt-PT" sz="3000" kern="1200" dirty="0"/>
        </a:p>
      </dsp:txBody>
      <dsp:txXfrm rot="-5400000">
        <a:off x="1144622" y="52616"/>
        <a:ext cx="9061029" cy="959093"/>
      </dsp:txXfrm>
    </dsp:sp>
    <dsp:sp modelId="{22F35C96-FCF7-4BFD-8F8C-DD3412077C54}">
      <dsp:nvSpPr>
        <dsp:cNvPr id="0" name=""/>
        <dsp:cNvSpPr/>
      </dsp:nvSpPr>
      <dsp:spPr>
        <a:xfrm rot="5400000">
          <a:off x="-245276" y="1687363"/>
          <a:ext cx="1635174" cy="11446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2500" kern="1200" dirty="0" err="1"/>
            <a:t>Bad</a:t>
          </a:r>
          <a:endParaRPr lang="pt-PT" sz="2500" kern="1200" dirty="0"/>
        </a:p>
      </dsp:txBody>
      <dsp:txXfrm rot="-5400000">
        <a:off x="1" y="2014398"/>
        <a:ext cx="1144621" cy="490553"/>
      </dsp:txXfrm>
    </dsp:sp>
    <dsp:sp modelId="{DCF30AE2-1527-4984-AB9C-9C58A436AFA9}">
      <dsp:nvSpPr>
        <dsp:cNvPr id="0" name=""/>
        <dsp:cNvSpPr/>
      </dsp:nvSpPr>
      <dsp:spPr>
        <a:xfrm rot="5400000">
          <a:off x="5169647" y="-2582938"/>
          <a:ext cx="1062863" cy="91129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19050" rIns="19050" bIns="19050" numCol="1" spcCol="1270" anchor="ctr" anchorCtr="0">
          <a:noAutofit/>
        </a:bodyPr>
        <a:lstStyle/>
        <a:p>
          <a:pPr marL="285750" lvl="1" indent="-285750" algn="l" defTabSz="1333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pt-PT" sz="3000" kern="1200" dirty="0"/>
        </a:p>
      </dsp:txBody>
      <dsp:txXfrm rot="-5400000">
        <a:off x="1144622" y="1493972"/>
        <a:ext cx="9061029" cy="959093"/>
      </dsp:txXfrm>
    </dsp:sp>
    <dsp:sp modelId="{480CD86F-AFFA-4602-B639-70DF7149AC39}">
      <dsp:nvSpPr>
        <dsp:cNvPr id="0" name=""/>
        <dsp:cNvSpPr/>
      </dsp:nvSpPr>
      <dsp:spPr>
        <a:xfrm rot="5400000">
          <a:off x="-245276" y="3128719"/>
          <a:ext cx="1635174" cy="11446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2500" kern="1200" dirty="0"/>
            <a:t>Improve</a:t>
          </a:r>
        </a:p>
      </dsp:txBody>
      <dsp:txXfrm rot="-5400000">
        <a:off x="1" y="3455754"/>
        <a:ext cx="1144621" cy="490553"/>
      </dsp:txXfrm>
    </dsp:sp>
    <dsp:sp modelId="{3BA2DD35-10E1-4880-ADD4-5713EA512191}">
      <dsp:nvSpPr>
        <dsp:cNvPr id="0" name=""/>
        <dsp:cNvSpPr/>
      </dsp:nvSpPr>
      <dsp:spPr>
        <a:xfrm rot="5400000">
          <a:off x="5169647" y="-1141582"/>
          <a:ext cx="1062863" cy="91129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19050" rIns="19050" bIns="19050" numCol="1" spcCol="1270" anchor="ctr" anchorCtr="0">
          <a:noAutofit/>
        </a:bodyPr>
        <a:lstStyle/>
        <a:p>
          <a:pPr marL="285750" lvl="1" indent="-285750" algn="l" defTabSz="1333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pt-PT" sz="3000" kern="1200" dirty="0"/>
        </a:p>
      </dsp:txBody>
      <dsp:txXfrm rot="-5400000">
        <a:off x="1144622" y="2935328"/>
        <a:ext cx="9061029" cy="9590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4D5D03-2A51-4483-80D8-20B4FC811CA6}" type="datetimeFigureOut">
              <a:rPr lang="en-US" smtClean="0"/>
              <a:t>5/2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7232D5-03D8-4B5E-9C0C-FBED2459A5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252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2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950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2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2012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2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986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 userDrawn="1"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644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8" name="Freeform 6"/>
          <p:cNvSpPr>
            <a:spLocks/>
          </p:cNvSpPr>
          <p:nvPr userDrawn="1"/>
        </p:nvSpPr>
        <p:spPr bwMode="auto">
          <a:xfrm>
            <a:off x="4901351" y="831584"/>
            <a:ext cx="7289800" cy="6026150"/>
          </a:xfrm>
          <a:custGeom>
            <a:avLst/>
            <a:gdLst/>
            <a:ahLst/>
            <a:cxnLst>
              <a:cxn ang="0">
                <a:pos x="0" y="1904"/>
              </a:cxn>
              <a:cxn ang="0">
                <a:pos x="8" y="1894"/>
              </a:cxn>
              <a:cxn ang="0">
                <a:pos x="20" y="1886"/>
              </a:cxn>
              <a:cxn ang="0">
                <a:pos x="146" y="1832"/>
              </a:cxn>
              <a:cxn ang="0">
                <a:pos x="344" y="1720"/>
              </a:cxn>
              <a:cxn ang="0">
                <a:pos x="484" y="1628"/>
              </a:cxn>
              <a:cxn ang="0">
                <a:pos x="754" y="1430"/>
              </a:cxn>
              <a:cxn ang="0">
                <a:pos x="1094" y="1162"/>
              </a:cxn>
              <a:cxn ang="0">
                <a:pos x="1418" y="906"/>
              </a:cxn>
              <a:cxn ang="0">
                <a:pos x="1766" y="648"/>
              </a:cxn>
              <a:cxn ang="0">
                <a:pos x="2006" y="486"/>
              </a:cxn>
              <a:cxn ang="0">
                <a:pos x="2254" y="338"/>
              </a:cxn>
              <a:cxn ang="0">
                <a:pos x="2390" y="268"/>
              </a:cxn>
              <a:cxn ang="0">
                <a:pos x="2598" y="172"/>
              </a:cxn>
              <a:cxn ang="0">
                <a:pos x="2816" y="92"/>
              </a:cxn>
              <a:cxn ang="0">
                <a:pos x="2996" y="42"/>
              </a:cxn>
              <a:cxn ang="0">
                <a:pos x="3134" y="16"/>
              </a:cxn>
              <a:cxn ang="0">
                <a:pos x="3220" y="6"/>
              </a:cxn>
              <a:cxn ang="0">
                <a:pos x="3336" y="2"/>
              </a:cxn>
              <a:cxn ang="0">
                <a:pos x="3390" y="0"/>
              </a:cxn>
              <a:cxn ang="0">
                <a:pos x="3522" y="0"/>
              </a:cxn>
              <a:cxn ang="0">
                <a:pos x="3590" y="4"/>
              </a:cxn>
              <a:cxn ang="0">
                <a:pos x="3688" y="8"/>
              </a:cxn>
              <a:cxn ang="0">
                <a:pos x="3832" y="34"/>
              </a:cxn>
              <a:cxn ang="0">
                <a:pos x="3974" y="72"/>
              </a:cxn>
              <a:cxn ang="0">
                <a:pos x="4160" y="140"/>
              </a:cxn>
              <a:cxn ang="0">
                <a:pos x="4336" y="228"/>
              </a:cxn>
              <a:cxn ang="0">
                <a:pos x="4448" y="300"/>
              </a:cxn>
              <a:cxn ang="0">
                <a:pos x="4568" y="390"/>
              </a:cxn>
              <a:cxn ang="0">
                <a:pos x="4588" y="414"/>
              </a:cxn>
              <a:cxn ang="0">
                <a:pos x="4592" y="2788"/>
              </a:cxn>
              <a:cxn ang="0">
                <a:pos x="4582" y="2808"/>
              </a:cxn>
              <a:cxn ang="0">
                <a:pos x="4514" y="2862"/>
              </a:cxn>
              <a:cxn ang="0">
                <a:pos x="4354" y="2970"/>
              </a:cxn>
              <a:cxn ang="0">
                <a:pos x="4186" y="3062"/>
              </a:cxn>
              <a:cxn ang="0">
                <a:pos x="4054" y="3122"/>
              </a:cxn>
              <a:cxn ang="0">
                <a:pos x="3828" y="3206"/>
              </a:cxn>
              <a:cxn ang="0">
                <a:pos x="3598" y="3276"/>
              </a:cxn>
              <a:cxn ang="0">
                <a:pos x="3370" y="3334"/>
              </a:cxn>
              <a:cxn ang="0">
                <a:pos x="2920" y="3432"/>
              </a:cxn>
              <a:cxn ang="0">
                <a:pos x="2498" y="3528"/>
              </a:cxn>
              <a:cxn ang="0">
                <a:pos x="2360" y="3566"/>
              </a:cxn>
              <a:cxn ang="0">
                <a:pos x="2144" y="3642"/>
              </a:cxn>
              <a:cxn ang="0">
                <a:pos x="1988" y="3716"/>
              </a:cxn>
              <a:cxn ang="0">
                <a:pos x="1878" y="3782"/>
              </a:cxn>
              <a:cxn ang="0">
                <a:pos x="1858" y="3792"/>
              </a:cxn>
              <a:cxn ang="0">
                <a:pos x="1834" y="3796"/>
              </a:cxn>
              <a:cxn ang="0">
                <a:pos x="432" y="3796"/>
              </a:cxn>
              <a:cxn ang="0">
                <a:pos x="408" y="3774"/>
              </a:cxn>
              <a:cxn ang="0">
                <a:pos x="354" y="3652"/>
              </a:cxn>
              <a:cxn ang="0">
                <a:pos x="258" y="3396"/>
              </a:cxn>
              <a:cxn ang="0">
                <a:pos x="140" y="2988"/>
              </a:cxn>
              <a:cxn ang="0">
                <a:pos x="86" y="2734"/>
              </a:cxn>
              <a:cxn ang="0">
                <a:pos x="44" y="2478"/>
              </a:cxn>
              <a:cxn ang="0">
                <a:pos x="8" y="2154"/>
              </a:cxn>
              <a:cxn ang="0">
                <a:pos x="4" y="2020"/>
              </a:cxn>
              <a:cxn ang="0">
                <a:pos x="2" y="1948"/>
              </a:cxn>
            </a:cxnLst>
            <a:rect l="0" t="0" r="r" b="b"/>
            <a:pathLst>
              <a:path w="4592" h="3796">
                <a:moveTo>
                  <a:pt x="0" y="1924"/>
                </a:moveTo>
                <a:lnTo>
                  <a:pt x="0" y="1924"/>
                </a:lnTo>
                <a:lnTo>
                  <a:pt x="0" y="1904"/>
                </a:lnTo>
                <a:lnTo>
                  <a:pt x="0" y="1904"/>
                </a:lnTo>
                <a:lnTo>
                  <a:pt x="4" y="1898"/>
                </a:lnTo>
                <a:lnTo>
                  <a:pt x="8" y="1894"/>
                </a:lnTo>
                <a:lnTo>
                  <a:pt x="14" y="1890"/>
                </a:lnTo>
                <a:lnTo>
                  <a:pt x="20" y="1886"/>
                </a:lnTo>
                <a:lnTo>
                  <a:pt x="20" y="1886"/>
                </a:lnTo>
                <a:lnTo>
                  <a:pt x="62" y="1870"/>
                </a:lnTo>
                <a:lnTo>
                  <a:pt x="104" y="1850"/>
                </a:lnTo>
                <a:lnTo>
                  <a:pt x="146" y="1832"/>
                </a:lnTo>
                <a:lnTo>
                  <a:pt x="186" y="1810"/>
                </a:lnTo>
                <a:lnTo>
                  <a:pt x="266" y="1766"/>
                </a:lnTo>
                <a:lnTo>
                  <a:pt x="344" y="1720"/>
                </a:lnTo>
                <a:lnTo>
                  <a:pt x="344" y="1720"/>
                </a:lnTo>
                <a:lnTo>
                  <a:pt x="414" y="1674"/>
                </a:lnTo>
                <a:lnTo>
                  <a:pt x="484" y="1628"/>
                </a:lnTo>
                <a:lnTo>
                  <a:pt x="552" y="1580"/>
                </a:lnTo>
                <a:lnTo>
                  <a:pt x="620" y="1530"/>
                </a:lnTo>
                <a:lnTo>
                  <a:pt x="754" y="1430"/>
                </a:lnTo>
                <a:lnTo>
                  <a:pt x="886" y="1328"/>
                </a:lnTo>
                <a:lnTo>
                  <a:pt x="886" y="1328"/>
                </a:lnTo>
                <a:lnTo>
                  <a:pt x="1094" y="1162"/>
                </a:lnTo>
                <a:lnTo>
                  <a:pt x="1304" y="996"/>
                </a:lnTo>
                <a:lnTo>
                  <a:pt x="1304" y="996"/>
                </a:lnTo>
                <a:lnTo>
                  <a:pt x="1418" y="906"/>
                </a:lnTo>
                <a:lnTo>
                  <a:pt x="1532" y="818"/>
                </a:lnTo>
                <a:lnTo>
                  <a:pt x="1648" y="732"/>
                </a:lnTo>
                <a:lnTo>
                  <a:pt x="1766" y="648"/>
                </a:lnTo>
                <a:lnTo>
                  <a:pt x="1766" y="648"/>
                </a:lnTo>
                <a:lnTo>
                  <a:pt x="1886" y="566"/>
                </a:lnTo>
                <a:lnTo>
                  <a:pt x="2006" y="486"/>
                </a:lnTo>
                <a:lnTo>
                  <a:pt x="2128" y="410"/>
                </a:lnTo>
                <a:lnTo>
                  <a:pt x="2190" y="374"/>
                </a:lnTo>
                <a:lnTo>
                  <a:pt x="2254" y="338"/>
                </a:lnTo>
                <a:lnTo>
                  <a:pt x="2254" y="338"/>
                </a:lnTo>
                <a:lnTo>
                  <a:pt x="2322" y="302"/>
                </a:lnTo>
                <a:lnTo>
                  <a:pt x="2390" y="268"/>
                </a:lnTo>
                <a:lnTo>
                  <a:pt x="2458" y="234"/>
                </a:lnTo>
                <a:lnTo>
                  <a:pt x="2528" y="202"/>
                </a:lnTo>
                <a:lnTo>
                  <a:pt x="2598" y="172"/>
                </a:lnTo>
                <a:lnTo>
                  <a:pt x="2670" y="142"/>
                </a:lnTo>
                <a:lnTo>
                  <a:pt x="2742" y="116"/>
                </a:lnTo>
                <a:lnTo>
                  <a:pt x="2816" y="92"/>
                </a:lnTo>
                <a:lnTo>
                  <a:pt x="2816" y="92"/>
                </a:lnTo>
                <a:lnTo>
                  <a:pt x="2906" y="64"/>
                </a:lnTo>
                <a:lnTo>
                  <a:pt x="2996" y="42"/>
                </a:lnTo>
                <a:lnTo>
                  <a:pt x="3042" y="32"/>
                </a:lnTo>
                <a:lnTo>
                  <a:pt x="3088" y="22"/>
                </a:lnTo>
                <a:lnTo>
                  <a:pt x="3134" y="16"/>
                </a:lnTo>
                <a:lnTo>
                  <a:pt x="3182" y="10"/>
                </a:lnTo>
                <a:lnTo>
                  <a:pt x="3182" y="10"/>
                </a:lnTo>
                <a:lnTo>
                  <a:pt x="3220" y="6"/>
                </a:lnTo>
                <a:lnTo>
                  <a:pt x="3258" y="4"/>
                </a:lnTo>
                <a:lnTo>
                  <a:pt x="3336" y="2"/>
                </a:lnTo>
                <a:lnTo>
                  <a:pt x="3336" y="2"/>
                </a:lnTo>
                <a:lnTo>
                  <a:pt x="3364" y="2"/>
                </a:lnTo>
                <a:lnTo>
                  <a:pt x="3378" y="2"/>
                </a:lnTo>
                <a:lnTo>
                  <a:pt x="3390" y="0"/>
                </a:lnTo>
                <a:lnTo>
                  <a:pt x="3390" y="0"/>
                </a:lnTo>
                <a:lnTo>
                  <a:pt x="3522" y="0"/>
                </a:lnTo>
                <a:lnTo>
                  <a:pt x="3522" y="0"/>
                </a:lnTo>
                <a:lnTo>
                  <a:pt x="3538" y="2"/>
                </a:lnTo>
                <a:lnTo>
                  <a:pt x="3556" y="4"/>
                </a:lnTo>
                <a:lnTo>
                  <a:pt x="3590" y="4"/>
                </a:lnTo>
                <a:lnTo>
                  <a:pt x="3590" y="4"/>
                </a:lnTo>
                <a:lnTo>
                  <a:pt x="3640" y="4"/>
                </a:lnTo>
                <a:lnTo>
                  <a:pt x="3688" y="8"/>
                </a:lnTo>
                <a:lnTo>
                  <a:pt x="3736" y="16"/>
                </a:lnTo>
                <a:lnTo>
                  <a:pt x="3784" y="24"/>
                </a:lnTo>
                <a:lnTo>
                  <a:pt x="3832" y="34"/>
                </a:lnTo>
                <a:lnTo>
                  <a:pt x="3880" y="46"/>
                </a:lnTo>
                <a:lnTo>
                  <a:pt x="3974" y="72"/>
                </a:lnTo>
                <a:lnTo>
                  <a:pt x="3974" y="72"/>
                </a:lnTo>
                <a:lnTo>
                  <a:pt x="4038" y="92"/>
                </a:lnTo>
                <a:lnTo>
                  <a:pt x="4100" y="114"/>
                </a:lnTo>
                <a:lnTo>
                  <a:pt x="4160" y="140"/>
                </a:lnTo>
                <a:lnTo>
                  <a:pt x="4220" y="168"/>
                </a:lnTo>
                <a:lnTo>
                  <a:pt x="4278" y="196"/>
                </a:lnTo>
                <a:lnTo>
                  <a:pt x="4336" y="228"/>
                </a:lnTo>
                <a:lnTo>
                  <a:pt x="4392" y="264"/>
                </a:lnTo>
                <a:lnTo>
                  <a:pt x="4448" y="300"/>
                </a:lnTo>
                <a:lnTo>
                  <a:pt x="4448" y="300"/>
                </a:lnTo>
                <a:lnTo>
                  <a:pt x="4508" y="344"/>
                </a:lnTo>
                <a:lnTo>
                  <a:pt x="4568" y="390"/>
                </a:lnTo>
                <a:lnTo>
                  <a:pt x="4568" y="390"/>
                </a:lnTo>
                <a:lnTo>
                  <a:pt x="4576" y="396"/>
                </a:lnTo>
                <a:lnTo>
                  <a:pt x="4582" y="404"/>
                </a:lnTo>
                <a:lnTo>
                  <a:pt x="4588" y="414"/>
                </a:lnTo>
                <a:lnTo>
                  <a:pt x="4592" y="422"/>
                </a:lnTo>
                <a:lnTo>
                  <a:pt x="4592" y="422"/>
                </a:lnTo>
                <a:lnTo>
                  <a:pt x="4592" y="2788"/>
                </a:lnTo>
                <a:lnTo>
                  <a:pt x="4592" y="2788"/>
                </a:lnTo>
                <a:lnTo>
                  <a:pt x="4588" y="2798"/>
                </a:lnTo>
                <a:lnTo>
                  <a:pt x="4582" y="2808"/>
                </a:lnTo>
                <a:lnTo>
                  <a:pt x="4564" y="2824"/>
                </a:lnTo>
                <a:lnTo>
                  <a:pt x="4564" y="2824"/>
                </a:lnTo>
                <a:lnTo>
                  <a:pt x="4514" y="2862"/>
                </a:lnTo>
                <a:lnTo>
                  <a:pt x="4462" y="2900"/>
                </a:lnTo>
                <a:lnTo>
                  <a:pt x="4408" y="2936"/>
                </a:lnTo>
                <a:lnTo>
                  <a:pt x="4354" y="2970"/>
                </a:lnTo>
                <a:lnTo>
                  <a:pt x="4300" y="3002"/>
                </a:lnTo>
                <a:lnTo>
                  <a:pt x="4244" y="3032"/>
                </a:lnTo>
                <a:lnTo>
                  <a:pt x="4186" y="3062"/>
                </a:lnTo>
                <a:lnTo>
                  <a:pt x="4128" y="3090"/>
                </a:lnTo>
                <a:lnTo>
                  <a:pt x="4128" y="3090"/>
                </a:lnTo>
                <a:lnTo>
                  <a:pt x="4054" y="3122"/>
                </a:lnTo>
                <a:lnTo>
                  <a:pt x="3980" y="3152"/>
                </a:lnTo>
                <a:lnTo>
                  <a:pt x="3904" y="3180"/>
                </a:lnTo>
                <a:lnTo>
                  <a:pt x="3828" y="3206"/>
                </a:lnTo>
                <a:lnTo>
                  <a:pt x="3752" y="3232"/>
                </a:lnTo>
                <a:lnTo>
                  <a:pt x="3676" y="3254"/>
                </a:lnTo>
                <a:lnTo>
                  <a:pt x="3598" y="3276"/>
                </a:lnTo>
                <a:lnTo>
                  <a:pt x="3520" y="3296"/>
                </a:lnTo>
                <a:lnTo>
                  <a:pt x="3520" y="3296"/>
                </a:lnTo>
                <a:lnTo>
                  <a:pt x="3370" y="3334"/>
                </a:lnTo>
                <a:lnTo>
                  <a:pt x="3220" y="3368"/>
                </a:lnTo>
                <a:lnTo>
                  <a:pt x="2920" y="3432"/>
                </a:lnTo>
                <a:lnTo>
                  <a:pt x="2920" y="3432"/>
                </a:lnTo>
                <a:lnTo>
                  <a:pt x="2778" y="3462"/>
                </a:lnTo>
                <a:lnTo>
                  <a:pt x="2638" y="3492"/>
                </a:lnTo>
                <a:lnTo>
                  <a:pt x="2498" y="3528"/>
                </a:lnTo>
                <a:lnTo>
                  <a:pt x="2430" y="3546"/>
                </a:lnTo>
                <a:lnTo>
                  <a:pt x="2360" y="3566"/>
                </a:lnTo>
                <a:lnTo>
                  <a:pt x="2360" y="3566"/>
                </a:lnTo>
                <a:lnTo>
                  <a:pt x="2250" y="3602"/>
                </a:lnTo>
                <a:lnTo>
                  <a:pt x="2196" y="3622"/>
                </a:lnTo>
                <a:lnTo>
                  <a:pt x="2144" y="3642"/>
                </a:lnTo>
                <a:lnTo>
                  <a:pt x="2092" y="3666"/>
                </a:lnTo>
                <a:lnTo>
                  <a:pt x="2040" y="3690"/>
                </a:lnTo>
                <a:lnTo>
                  <a:pt x="1988" y="3716"/>
                </a:lnTo>
                <a:lnTo>
                  <a:pt x="1938" y="3744"/>
                </a:lnTo>
                <a:lnTo>
                  <a:pt x="1938" y="3744"/>
                </a:lnTo>
                <a:lnTo>
                  <a:pt x="1878" y="3782"/>
                </a:lnTo>
                <a:lnTo>
                  <a:pt x="1878" y="3782"/>
                </a:lnTo>
                <a:lnTo>
                  <a:pt x="1868" y="3788"/>
                </a:lnTo>
                <a:lnTo>
                  <a:pt x="1858" y="3792"/>
                </a:lnTo>
                <a:lnTo>
                  <a:pt x="1846" y="3796"/>
                </a:lnTo>
                <a:lnTo>
                  <a:pt x="1834" y="3796"/>
                </a:lnTo>
                <a:lnTo>
                  <a:pt x="1834" y="3796"/>
                </a:lnTo>
                <a:lnTo>
                  <a:pt x="444" y="3796"/>
                </a:lnTo>
                <a:lnTo>
                  <a:pt x="444" y="3796"/>
                </a:lnTo>
                <a:lnTo>
                  <a:pt x="432" y="3796"/>
                </a:lnTo>
                <a:lnTo>
                  <a:pt x="422" y="3792"/>
                </a:lnTo>
                <a:lnTo>
                  <a:pt x="414" y="3784"/>
                </a:lnTo>
                <a:lnTo>
                  <a:pt x="408" y="3774"/>
                </a:lnTo>
                <a:lnTo>
                  <a:pt x="408" y="3774"/>
                </a:lnTo>
                <a:lnTo>
                  <a:pt x="380" y="3714"/>
                </a:lnTo>
                <a:lnTo>
                  <a:pt x="354" y="3652"/>
                </a:lnTo>
                <a:lnTo>
                  <a:pt x="306" y="3528"/>
                </a:lnTo>
                <a:lnTo>
                  <a:pt x="306" y="3528"/>
                </a:lnTo>
                <a:lnTo>
                  <a:pt x="258" y="3396"/>
                </a:lnTo>
                <a:lnTo>
                  <a:pt x="214" y="3260"/>
                </a:lnTo>
                <a:lnTo>
                  <a:pt x="174" y="3124"/>
                </a:lnTo>
                <a:lnTo>
                  <a:pt x="140" y="2988"/>
                </a:lnTo>
                <a:lnTo>
                  <a:pt x="140" y="2988"/>
                </a:lnTo>
                <a:lnTo>
                  <a:pt x="112" y="2860"/>
                </a:lnTo>
                <a:lnTo>
                  <a:pt x="86" y="2734"/>
                </a:lnTo>
                <a:lnTo>
                  <a:pt x="64" y="2606"/>
                </a:lnTo>
                <a:lnTo>
                  <a:pt x="44" y="2478"/>
                </a:lnTo>
                <a:lnTo>
                  <a:pt x="44" y="2478"/>
                </a:lnTo>
                <a:lnTo>
                  <a:pt x="24" y="2316"/>
                </a:lnTo>
                <a:lnTo>
                  <a:pt x="14" y="2236"/>
                </a:lnTo>
                <a:lnTo>
                  <a:pt x="8" y="2154"/>
                </a:lnTo>
                <a:lnTo>
                  <a:pt x="8" y="2154"/>
                </a:lnTo>
                <a:lnTo>
                  <a:pt x="6" y="2086"/>
                </a:lnTo>
                <a:lnTo>
                  <a:pt x="4" y="2020"/>
                </a:lnTo>
                <a:lnTo>
                  <a:pt x="4" y="2020"/>
                </a:lnTo>
                <a:lnTo>
                  <a:pt x="2" y="1972"/>
                </a:lnTo>
                <a:lnTo>
                  <a:pt x="2" y="1948"/>
                </a:lnTo>
                <a:lnTo>
                  <a:pt x="0" y="1924"/>
                </a:lnTo>
                <a:lnTo>
                  <a:pt x="0" y="1924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94195" y="2191647"/>
            <a:ext cx="4021613" cy="31602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14168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2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8409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2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1236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2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068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28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3201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28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482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28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2249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2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2316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1C9C-4818-4842-B4F4-7F564951AD6A}" type="datetimeFigureOut">
              <a:rPr lang="en-US" smtClean="0"/>
              <a:t>5/2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3544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3E1C9C-4818-4842-B4F4-7F564951AD6A}" type="datetimeFigureOut">
              <a:rPr lang="en-US" smtClean="0"/>
              <a:t>5/2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DF0794-A8EB-4544-B63B-51E3F37684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25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693464A-4C8A-423D-ADBD-B1151BF81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0523" y="4200036"/>
            <a:ext cx="5933670" cy="2058654"/>
          </a:xfrm>
        </p:spPr>
        <p:txBody>
          <a:bodyPr/>
          <a:lstStyle/>
          <a:p>
            <a:pPr algn="ctr"/>
            <a:r>
              <a:rPr lang="en-US" dirty="0"/>
              <a:t>Analysis &amp; Design</a:t>
            </a:r>
            <a:br>
              <a:rPr lang="en-US" dirty="0"/>
            </a:br>
            <a:r>
              <a:rPr lang="en-US" dirty="0"/>
              <a:t>Implementation &amp; Automation</a:t>
            </a:r>
            <a:br>
              <a:rPr lang="en-US" dirty="0"/>
            </a:br>
            <a:r>
              <a:rPr lang="en-US" dirty="0"/>
              <a:t>Reporting</a:t>
            </a:r>
          </a:p>
          <a:p>
            <a:pPr algn="ctr"/>
            <a:r>
              <a:rPr lang="en-US" sz="1800" b="0" dirty="0"/>
              <a:t>Software QA Exerci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9947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4. Sprint 2 Retrospective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289B1B50-75F1-4977-9FF8-D5C2C3648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25065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130982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Sprint 2 Retrospective</a:t>
            </a:r>
          </a:p>
        </p:txBody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88625F8E-DE97-4AEF-9C66-0EA334D99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90888829-381A-4D50-BD5A-4257014469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86071176"/>
              </p:ext>
            </p:extLst>
          </p:nvPr>
        </p:nvGraphicFramePr>
        <p:xfrm>
          <a:off x="824992" y="1947672"/>
          <a:ext cx="10257536" cy="45193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311547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5. Sprint 3 Plan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289B1B50-75F1-4977-9FF8-D5C2C3648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18288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8376961"/>
              </p:ext>
            </p:extLst>
          </p:nvPr>
        </p:nvGraphicFramePr>
        <p:xfrm>
          <a:off x="473529" y="2134180"/>
          <a:ext cx="10947327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2155">
                  <a:extLst>
                    <a:ext uri="{9D8B030D-6E8A-4147-A177-3AD203B41FA5}">
                      <a16:colId xmlns:a16="http://schemas.microsoft.com/office/drawing/2014/main" val="1683065498"/>
                    </a:ext>
                  </a:extLst>
                </a:gridCol>
                <a:gridCol w="4770836">
                  <a:extLst>
                    <a:ext uri="{9D8B030D-6E8A-4147-A177-3AD203B41FA5}">
                      <a16:colId xmlns:a16="http://schemas.microsoft.com/office/drawing/2014/main" val="628989764"/>
                    </a:ext>
                  </a:extLst>
                </a:gridCol>
                <a:gridCol w="2337855">
                  <a:extLst>
                    <a:ext uri="{9D8B030D-6E8A-4147-A177-3AD203B41FA5}">
                      <a16:colId xmlns:a16="http://schemas.microsoft.com/office/drawing/2014/main" val="1351784640"/>
                    </a:ext>
                  </a:extLst>
                </a:gridCol>
                <a:gridCol w="739754">
                  <a:extLst>
                    <a:ext uri="{9D8B030D-6E8A-4147-A177-3AD203B41FA5}">
                      <a16:colId xmlns:a16="http://schemas.microsoft.com/office/drawing/2014/main" val="193697238"/>
                    </a:ext>
                  </a:extLst>
                </a:gridCol>
                <a:gridCol w="1076347">
                  <a:extLst>
                    <a:ext uri="{9D8B030D-6E8A-4147-A177-3AD203B41FA5}">
                      <a16:colId xmlns:a16="http://schemas.microsoft.com/office/drawing/2014/main" val="2457849855"/>
                    </a:ext>
                  </a:extLst>
                </a:gridCol>
                <a:gridCol w="820380">
                  <a:extLst>
                    <a:ext uri="{9D8B030D-6E8A-4147-A177-3AD203B41FA5}">
                      <a16:colId xmlns:a16="http://schemas.microsoft.com/office/drawing/2014/main" val="8010341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Issue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it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ssign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oi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ior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76622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AEX-TA-0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tomation project Refa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846429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Backlog</a:t>
            </a:r>
          </a:p>
        </p:txBody>
      </p:sp>
      <p:pic>
        <p:nvPicPr>
          <p:cNvPr id="5" name="Image 24">
            <a:extLst>
              <a:ext uri="{FF2B5EF4-FFF2-40B4-BE49-F238E27FC236}">
                <a16:creationId xmlns:a16="http://schemas.microsoft.com/office/drawing/2014/main" id="{A19C6847-EC60-45D8-AE2E-99B0C60B33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20A90E9-4736-4454-BFE7-54A30A32E7B7}"/>
              </a:ext>
            </a:extLst>
          </p:cNvPr>
          <p:cNvSpPr txBox="1"/>
          <p:nvPr/>
        </p:nvSpPr>
        <p:spPr>
          <a:xfrm>
            <a:off x="112172" y="6227194"/>
            <a:ext cx="4887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ftware Testing, Verification and Validation</a:t>
            </a:r>
          </a:p>
        </p:txBody>
      </p:sp>
    </p:spTree>
    <p:extLst>
      <p:ext uri="{BB962C8B-B14F-4D97-AF65-F5344CB8AC3E}">
        <p14:creationId xmlns:p14="http://schemas.microsoft.com/office/powerpoint/2010/main" val="3433694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3055321"/>
              </p:ext>
            </p:extLst>
          </p:nvPr>
        </p:nvGraphicFramePr>
        <p:xfrm>
          <a:off x="473529" y="2134180"/>
          <a:ext cx="10947327" cy="2047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2155">
                  <a:extLst>
                    <a:ext uri="{9D8B030D-6E8A-4147-A177-3AD203B41FA5}">
                      <a16:colId xmlns:a16="http://schemas.microsoft.com/office/drawing/2014/main" val="1683065498"/>
                    </a:ext>
                  </a:extLst>
                </a:gridCol>
                <a:gridCol w="4770836">
                  <a:extLst>
                    <a:ext uri="{9D8B030D-6E8A-4147-A177-3AD203B41FA5}">
                      <a16:colId xmlns:a16="http://schemas.microsoft.com/office/drawing/2014/main" val="628989764"/>
                    </a:ext>
                  </a:extLst>
                </a:gridCol>
                <a:gridCol w="2337855">
                  <a:extLst>
                    <a:ext uri="{9D8B030D-6E8A-4147-A177-3AD203B41FA5}">
                      <a16:colId xmlns:a16="http://schemas.microsoft.com/office/drawing/2014/main" val="1351784640"/>
                    </a:ext>
                  </a:extLst>
                </a:gridCol>
                <a:gridCol w="739754">
                  <a:extLst>
                    <a:ext uri="{9D8B030D-6E8A-4147-A177-3AD203B41FA5}">
                      <a16:colId xmlns:a16="http://schemas.microsoft.com/office/drawing/2014/main" val="193697238"/>
                    </a:ext>
                  </a:extLst>
                </a:gridCol>
                <a:gridCol w="1076347">
                  <a:extLst>
                    <a:ext uri="{9D8B030D-6E8A-4147-A177-3AD203B41FA5}">
                      <a16:colId xmlns:a16="http://schemas.microsoft.com/office/drawing/2014/main" val="2457849855"/>
                    </a:ext>
                  </a:extLst>
                </a:gridCol>
                <a:gridCol w="820380">
                  <a:extLst>
                    <a:ext uri="{9D8B030D-6E8A-4147-A177-3AD203B41FA5}">
                      <a16:colId xmlns:a16="http://schemas.microsoft.com/office/drawing/2014/main" val="8010341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Issue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it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ssign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oi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ior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76622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AEX-TA-0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tomation project Refactor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RY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ean up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cu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8464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AEX-TA-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cumentation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tomation project READM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tomation project on source contro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04261816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Sprint 3 Plan    |    31/05 -&gt; 04/06</a:t>
            </a:r>
          </a:p>
        </p:txBody>
      </p:sp>
      <p:pic>
        <p:nvPicPr>
          <p:cNvPr id="5" name="Image 24">
            <a:extLst>
              <a:ext uri="{FF2B5EF4-FFF2-40B4-BE49-F238E27FC236}">
                <a16:creationId xmlns:a16="http://schemas.microsoft.com/office/drawing/2014/main" id="{A19C6847-EC60-45D8-AE2E-99B0C60B33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20A90E9-4736-4454-BFE7-54A30A32E7B7}"/>
              </a:ext>
            </a:extLst>
          </p:cNvPr>
          <p:cNvSpPr txBox="1"/>
          <p:nvPr/>
        </p:nvSpPr>
        <p:spPr>
          <a:xfrm>
            <a:off x="112172" y="6227194"/>
            <a:ext cx="4887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ftware Testing, Verification and Validation</a:t>
            </a:r>
          </a:p>
        </p:txBody>
      </p:sp>
    </p:spTree>
    <p:extLst>
      <p:ext uri="{BB962C8B-B14F-4D97-AF65-F5344CB8AC3E}">
        <p14:creationId xmlns:p14="http://schemas.microsoft.com/office/powerpoint/2010/main" val="29577963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admap</a:t>
            </a:r>
          </a:p>
        </p:txBody>
      </p:sp>
      <p:pic>
        <p:nvPicPr>
          <p:cNvPr id="5" name="Image 24">
            <a:extLst>
              <a:ext uri="{FF2B5EF4-FFF2-40B4-BE49-F238E27FC236}">
                <a16:creationId xmlns:a16="http://schemas.microsoft.com/office/drawing/2014/main" id="{A19C6847-EC60-45D8-AE2E-99B0C60B33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20A90E9-4736-4454-BFE7-54A30A32E7B7}"/>
              </a:ext>
            </a:extLst>
          </p:cNvPr>
          <p:cNvSpPr txBox="1"/>
          <p:nvPr/>
        </p:nvSpPr>
        <p:spPr>
          <a:xfrm>
            <a:off x="112172" y="6227194"/>
            <a:ext cx="4887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ftware Testing, Verification and Validation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7EB4E66-D061-46EC-B23C-ABA2FB2F579D}"/>
              </a:ext>
            </a:extLst>
          </p:cNvPr>
          <p:cNvGrpSpPr/>
          <p:nvPr/>
        </p:nvGrpSpPr>
        <p:grpSpPr>
          <a:xfrm>
            <a:off x="2625254" y="2636109"/>
            <a:ext cx="744434" cy="2372758"/>
            <a:chOff x="395536" y="1757007"/>
            <a:chExt cx="771054" cy="1966871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50822F0-E5A4-4886-8131-6065D939638C}"/>
                </a:ext>
              </a:extLst>
            </p:cNvPr>
            <p:cNvGrpSpPr/>
            <p:nvPr/>
          </p:nvGrpSpPr>
          <p:grpSpPr>
            <a:xfrm>
              <a:off x="395536" y="1757007"/>
              <a:ext cx="771054" cy="592536"/>
              <a:chOff x="1595537" y="817022"/>
              <a:chExt cx="879574" cy="549733"/>
            </a:xfrm>
            <a:scene3d>
              <a:camera prst="orthographicFront"/>
              <a:lightRig rig="threePt" dir="t"/>
            </a:scene3d>
          </p:grpSpPr>
          <p:sp>
            <p:nvSpPr>
              <p:cNvPr id="17" name="Rounded Rectangle 97">
                <a:extLst>
                  <a:ext uri="{FF2B5EF4-FFF2-40B4-BE49-F238E27FC236}">
                    <a16:creationId xmlns:a16="http://schemas.microsoft.com/office/drawing/2014/main" id="{C25BB246-24D9-48A4-B179-59BB539D9AC6}"/>
                  </a:ext>
                </a:extLst>
              </p:cNvPr>
              <p:cNvSpPr/>
              <p:nvPr/>
            </p:nvSpPr>
            <p:spPr>
              <a:xfrm>
                <a:off x="1595537" y="817022"/>
                <a:ext cx="879574" cy="549733"/>
              </a:xfrm>
              <a:prstGeom prst="roundRect">
                <a:avLst>
                  <a:gd name="adj" fmla="val 10000"/>
                </a:avLst>
              </a:prstGeom>
              <a:ln>
                <a:solidFill>
                  <a:schemeClr val="accent3"/>
                </a:solidFill>
              </a:ln>
              <a:sp3d>
                <a:bevelT/>
                <a:bevelB/>
              </a:sp3d>
            </p:spPr>
            <p:style>
              <a:lnRef idx="2">
                <a:scrgbClr r="0" g="0" b="0"/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8" name="Rounded Rectangle 4">
                <a:extLst>
                  <a:ext uri="{FF2B5EF4-FFF2-40B4-BE49-F238E27FC236}">
                    <a16:creationId xmlns:a16="http://schemas.microsoft.com/office/drawing/2014/main" id="{107D89AF-209B-46E1-826D-7410FB35EBF6}"/>
                  </a:ext>
                </a:extLst>
              </p:cNvPr>
              <p:cNvSpPr txBox="1"/>
              <p:nvPr/>
            </p:nvSpPr>
            <p:spPr>
              <a:xfrm>
                <a:off x="1611638" y="833123"/>
                <a:ext cx="847372" cy="517531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5240" tIns="10160" rIns="15240" bIns="10160" numCol="1" spcCol="1270" anchor="ctr" anchorCtr="0">
                <a:noAutofit/>
              </a:bodyPr>
              <a:lstStyle/>
              <a:p>
                <a:pPr marL="0" marR="0" lvl="0" indent="0" algn="ctr" defTabSz="3556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alysis and design of critical use cases</a:t>
                </a:r>
              </a:p>
            </p:txBody>
          </p:sp>
        </p:grpSp>
        <p:sp>
          <p:nvSpPr>
            <p:cNvPr id="15" name="Rounded Rectangle 95">
              <a:extLst>
                <a:ext uri="{FF2B5EF4-FFF2-40B4-BE49-F238E27FC236}">
                  <a16:creationId xmlns:a16="http://schemas.microsoft.com/office/drawing/2014/main" id="{CF7F3662-B5D8-4AC3-81FB-8661618D540B}"/>
                </a:ext>
              </a:extLst>
            </p:cNvPr>
            <p:cNvSpPr/>
            <p:nvPr/>
          </p:nvSpPr>
          <p:spPr>
            <a:xfrm>
              <a:off x="395536" y="2414493"/>
              <a:ext cx="771054" cy="634170"/>
            </a:xfrm>
            <a:prstGeom prst="roundRect">
              <a:avLst>
                <a:gd name="adj" fmla="val 10000"/>
              </a:avLst>
            </a:prstGeom>
            <a:ln>
              <a:solidFill>
                <a:schemeClr val="accent3"/>
              </a:solidFill>
            </a:ln>
            <a:scene3d>
              <a:camera prst="orthographicFront"/>
              <a:lightRig rig="threePt" dir="t"/>
            </a:scene3d>
            <a:sp3d>
              <a:bevelT/>
              <a:bevelB/>
            </a:sp3d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r>
                <a:rPr lang="pt-PT" sz="800" dirty="0" err="1"/>
                <a:t>Start</a:t>
              </a:r>
              <a:r>
                <a:rPr lang="pt-PT" sz="800" dirty="0"/>
                <a:t> </a:t>
              </a:r>
              <a:r>
                <a:rPr lang="pt-PT" sz="800" dirty="0" err="1"/>
                <a:t>automation</a:t>
              </a:r>
              <a:r>
                <a:rPr lang="pt-PT" sz="800" dirty="0"/>
                <a:t> </a:t>
              </a:r>
              <a:r>
                <a:rPr lang="pt-PT" sz="800" dirty="0" err="1"/>
                <a:t>project</a:t>
              </a:r>
              <a:endParaRPr lang="pt-PT" sz="800" dirty="0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3B2FCE4-704C-42D5-987C-6FE60649F828}"/>
                </a:ext>
              </a:extLst>
            </p:cNvPr>
            <p:cNvGrpSpPr/>
            <p:nvPr/>
          </p:nvGrpSpPr>
          <p:grpSpPr>
            <a:xfrm>
              <a:off x="395536" y="3131342"/>
              <a:ext cx="771054" cy="592536"/>
              <a:chOff x="1595537" y="2191357"/>
              <a:chExt cx="879574" cy="549733"/>
            </a:xfrm>
            <a:scene3d>
              <a:camera prst="orthographicFront"/>
              <a:lightRig rig="threePt" dir="t"/>
            </a:scene3d>
          </p:grpSpPr>
          <p:sp>
            <p:nvSpPr>
              <p:cNvPr id="13" name="Rounded Rectangle 93">
                <a:extLst>
                  <a:ext uri="{FF2B5EF4-FFF2-40B4-BE49-F238E27FC236}">
                    <a16:creationId xmlns:a16="http://schemas.microsoft.com/office/drawing/2014/main" id="{A5BF9B46-783C-4BB5-A6C3-442AC54900F5}"/>
                  </a:ext>
                </a:extLst>
              </p:cNvPr>
              <p:cNvSpPr/>
              <p:nvPr/>
            </p:nvSpPr>
            <p:spPr>
              <a:xfrm>
                <a:off x="1595537" y="2191357"/>
                <a:ext cx="879574" cy="549733"/>
              </a:xfrm>
              <a:prstGeom prst="roundRect">
                <a:avLst>
                  <a:gd name="adj" fmla="val 10000"/>
                </a:avLst>
              </a:prstGeom>
              <a:ln>
                <a:solidFill>
                  <a:schemeClr val="accent3"/>
                </a:solidFill>
              </a:ln>
              <a:sp3d>
                <a:bevelT/>
                <a:bevelB/>
              </a:sp3d>
            </p:spPr>
            <p:style>
              <a:lnRef idx="2">
                <a:scrgbClr r="0" g="0" b="0"/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4" name="Rounded Rectangle 8">
                <a:extLst>
                  <a:ext uri="{FF2B5EF4-FFF2-40B4-BE49-F238E27FC236}">
                    <a16:creationId xmlns:a16="http://schemas.microsoft.com/office/drawing/2014/main" id="{D9953938-77C0-4AF4-88FF-AADBFCE280B6}"/>
                  </a:ext>
                </a:extLst>
              </p:cNvPr>
              <p:cNvSpPr txBox="1"/>
              <p:nvPr/>
            </p:nvSpPr>
            <p:spPr>
              <a:xfrm>
                <a:off x="1611638" y="2207458"/>
                <a:ext cx="847372" cy="517531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5240" tIns="10160" rIns="15240" bIns="10160" numCol="1" spcCol="1270" anchor="ctr" anchorCtr="0">
                <a:noAutofit/>
              </a:bodyPr>
              <a:lstStyle/>
              <a:p>
                <a:pPr marL="0" marR="0" lvl="0" indent="0" algn="ctr" defTabSz="3556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duce backlog </a:t>
                </a:r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B21B2E2-A6BB-4AD1-9B38-3CF4D100F997}"/>
              </a:ext>
            </a:extLst>
          </p:cNvPr>
          <p:cNvGrpSpPr/>
          <p:nvPr/>
        </p:nvGrpSpPr>
        <p:grpSpPr>
          <a:xfrm>
            <a:off x="3532477" y="2629116"/>
            <a:ext cx="747919" cy="721805"/>
            <a:chOff x="2969871" y="817022"/>
            <a:chExt cx="879574" cy="549733"/>
          </a:xfrm>
          <a:scene3d>
            <a:camera prst="orthographicFront"/>
            <a:lightRig rig="threePt" dir="t"/>
          </a:scene3d>
        </p:grpSpPr>
        <p:sp>
          <p:nvSpPr>
            <p:cNvPr id="20" name="Rounded Rectangle 91">
              <a:extLst>
                <a:ext uri="{FF2B5EF4-FFF2-40B4-BE49-F238E27FC236}">
                  <a16:creationId xmlns:a16="http://schemas.microsoft.com/office/drawing/2014/main" id="{008EA349-8923-4DEE-B0AB-3C332AD94F9F}"/>
                </a:ext>
              </a:extLst>
            </p:cNvPr>
            <p:cNvSpPr/>
            <p:nvPr/>
          </p:nvSpPr>
          <p:spPr>
            <a:xfrm>
              <a:off x="2969871" y="817022"/>
              <a:ext cx="879574" cy="549733"/>
            </a:xfrm>
            <a:prstGeom prst="roundRect">
              <a:avLst>
                <a:gd name="adj" fmla="val 10000"/>
              </a:avLst>
            </a:prstGeom>
            <a:ln>
              <a:solidFill>
                <a:schemeClr val="accent4"/>
              </a:solidFill>
            </a:ln>
            <a:sp3d>
              <a:bevelT/>
              <a:bevelB/>
            </a:sp3d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Rounded Rectangle 10">
              <a:extLst>
                <a:ext uri="{FF2B5EF4-FFF2-40B4-BE49-F238E27FC236}">
                  <a16:creationId xmlns:a16="http://schemas.microsoft.com/office/drawing/2014/main" id="{49D3C5F0-4F20-4F93-BF51-E3CCAAA26AB9}"/>
                </a:ext>
              </a:extLst>
            </p:cNvPr>
            <p:cNvSpPr txBox="1"/>
            <p:nvPr/>
          </p:nvSpPr>
          <p:spPr>
            <a:xfrm>
              <a:off x="2985972" y="833123"/>
              <a:ext cx="847372" cy="51753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" tIns="10160" rIns="15240" bIns="10160" numCol="1" spcCol="1270" anchor="ctr" anchorCtr="0">
              <a:noAutofit/>
            </a:bodyPr>
            <a:lstStyle/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nish the test automation’s use case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5B0273C-AFF5-4545-8BAF-D6B9A02E0A42}"/>
              </a:ext>
            </a:extLst>
          </p:cNvPr>
          <p:cNvGrpSpPr/>
          <p:nvPr/>
        </p:nvGrpSpPr>
        <p:grpSpPr>
          <a:xfrm>
            <a:off x="4486527" y="2639965"/>
            <a:ext cx="700782" cy="669025"/>
            <a:chOff x="4344206" y="817022"/>
            <a:chExt cx="879574" cy="549733"/>
          </a:xfrm>
          <a:scene3d>
            <a:camera prst="orthographicFront"/>
            <a:lightRig rig="threePt" dir="t"/>
          </a:scene3d>
        </p:grpSpPr>
        <p:sp>
          <p:nvSpPr>
            <p:cNvPr id="23" name="Rounded Rectangle 87">
              <a:extLst>
                <a:ext uri="{FF2B5EF4-FFF2-40B4-BE49-F238E27FC236}">
                  <a16:creationId xmlns:a16="http://schemas.microsoft.com/office/drawing/2014/main" id="{25D373B9-0E1E-4181-8352-69D993F9199B}"/>
                </a:ext>
              </a:extLst>
            </p:cNvPr>
            <p:cNvSpPr/>
            <p:nvPr/>
          </p:nvSpPr>
          <p:spPr>
            <a:xfrm>
              <a:off x="4344206" y="817022"/>
              <a:ext cx="879574" cy="549733"/>
            </a:xfrm>
            <a:prstGeom prst="roundRect">
              <a:avLst>
                <a:gd name="adj" fmla="val 10000"/>
              </a:avLst>
            </a:prstGeom>
            <a:ln>
              <a:solidFill>
                <a:schemeClr val="accent4"/>
              </a:solidFill>
            </a:ln>
            <a:sp3d>
              <a:bevelT/>
              <a:bevelB/>
            </a:sp3d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Rounded Rectangle 14">
              <a:extLst>
                <a:ext uri="{FF2B5EF4-FFF2-40B4-BE49-F238E27FC236}">
                  <a16:creationId xmlns:a16="http://schemas.microsoft.com/office/drawing/2014/main" id="{ED516FC2-A183-4CB5-B34A-6007C4693A56}"/>
                </a:ext>
              </a:extLst>
            </p:cNvPr>
            <p:cNvSpPr txBox="1"/>
            <p:nvPr/>
          </p:nvSpPr>
          <p:spPr>
            <a:xfrm>
              <a:off x="4360307" y="833123"/>
              <a:ext cx="847372" cy="51753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" tIns="10160" rIns="15240" bIns="10160" numCol="1" spcCol="1270" anchor="ctr" anchorCtr="0">
              <a:noAutofit/>
            </a:bodyPr>
            <a:lstStyle/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factor</a:t>
              </a:r>
            </a:p>
          </p:txBody>
        </p:sp>
      </p:grpSp>
      <p:sp>
        <p:nvSpPr>
          <p:cNvPr id="35" name="Pentagon 20">
            <a:extLst>
              <a:ext uri="{FF2B5EF4-FFF2-40B4-BE49-F238E27FC236}">
                <a16:creationId xmlns:a16="http://schemas.microsoft.com/office/drawing/2014/main" id="{C9CA63E0-CFF3-4CB4-B800-41A633C79A44}"/>
              </a:ext>
            </a:extLst>
          </p:cNvPr>
          <p:cNvSpPr/>
          <p:nvPr/>
        </p:nvSpPr>
        <p:spPr>
          <a:xfrm>
            <a:off x="2512304" y="2009016"/>
            <a:ext cx="3102112" cy="140219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Pentagon 21">
            <a:extLst>
              <a:ext uri="{FF2B5EF4-FFF2-40B4-BE49-F238E27FC236}">
                <a16:creationId xmlns:a16="http://schemas.microsoft.com/office/drawing/2014/main" id="{B0A68076-444A-4BBB-99AC-3016F058326A}"/>
              </a:ext>
            </a:extLst>
          </p:cNvPr>
          <p:cNvSpPr/>
          <p:nvPr/>
        </p:nvSpPr>
        <p:spPr>
          <a:xfrm>
            <a:off x="2611599" y="2346261"/>
            <a:ext cx="707935" cy="243541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t 1</a:t>
            </a:r>
          </a:p>
        </p:txBody>
      </p:sp>
      <p:sp>
        <p:nvSpPr>
          <p:cNvPr id="37" name="Pentagon 22">
            <a:extLst>
              <a:ext uri="{FF2B5EF4-FFF2-40B4-BE49-F238E27FC236}">
                <a16:creationId xmlns:a16="http://schemas.microsoft.com/office/drawing/2014/main" id="{E1F5CB4D-BB5A-46B5-8876-51AAD3AD1247}"/>
              </a:ext>
            </a:extLst>
          </p:cNvPr>
          <p:cNvSpPr/>
          <p:nvPr/>
        </p:nvSpPr>
        <p:spPr>
          <a:xfrm>
            <a:off x="3553483" y="2337508"/>
            <a:ext cx="662394" cy="241555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t 2</a:t>
            </a:r>
          </a:p>
        </p:txBody>
      </p:sp>
      <p:sp>
        <p:nvSpPr>
          <p:cNvPr id="38" name="Pentagon 23">
            <a:extLst>
              <a:ext uri="{FF2B5EF4-FFF2-40B4-BE49-F238E27FC236}">
                <a16:creationId xmlns:a16="http://schemas.microsoft.com/office/drawing/2014/main" id="{E32FC749-B1E2-45BD-AD42-AFFA26DF1D43}"/>
              </a:ext>
            </a:extLst>
          </p:cNvPr>
          <p:cNvSpPr/>
          <p:nvPr/>
        </p:nvSpPr>
        <p:spPr>
          <a:xfrm>
            <a:off x="4498328" y="2346261"/>
            <a:ext cx="701681" cy="242613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t 3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3B09D63-5858-4C7F-8473-7476BCC04D62}"/>
              </a:ext>
            </a:extLst>
          </p:cNvPr>
          <p:cNvSpPr/>
          <p:nvPr/>
        </p:nvSpPr>
        <p:spPr>
          <a:xfrm>
            <a:off x="4354202" y="2135940"/>
            <a:ext cx="109743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31/05– 04/06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0C065CA-676F-4A4C-A473-7DF57128D5F1}"/>
              </a:ext>
            </a:extLst>
          </p:cNvPr>
          <p:cNvSpPr/>
          <p:nvPr/>
        </p:nvSpPr>
        <p:spPr>
          <a:xfrm>
            <a:off x="3405787" y="2121477"/>
            <a:ext cx="109805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17/28 – 28/05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EA5B25F-9342-465C-ABFB-51447C18E7E1}"/>
              </a:ext>
            </a:extLst>
          </p:cNvPr>
          <p:cNvSpPr/>
          <p:nvPr/>
        </p:nvSpPr>
        <p:spPr>
          <a:xfrm>
            <a:off x="3477095" y="1967072"/>
            <a:ext cx="40267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y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E09E110-4850-4A10-B279-D87CA51A6F06}"/>
              </a:ext>
            </a:extLst>
          </p:cNvPr>
          <p:cNvSpPr/>
          <p:nvPr/>
        </p:nvSpPr>
        <p:spPr>
          <a:xfrm>
            <a:off x="2456921" y="2126742"/>
            <a:ext cx="109458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03/05 – 14/05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0555184-DF37-477D-9044-9B35BF5DCFA1}"/>
              </a:ext>
            </a:extLst>
          </p:cNvPr>
          <p:cNvSpPr/>
          <p:nvPr/>
        </p:nvSpPr>
        <p:spPr>
          <a:xfrm>
            <a:off x="4642165" y="1974468"/>
            <a:ext cx="43473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ne</a:t>
            </a:r>
          </a:p>
        </p:txBody>
      </p:sp>
      <p:pic>
        <p:nvPicPr>
          <p:cNvPr id="52" name="Picture 51" descr="Archivo:Check green icon.svg - Wikipedia, la enciclopedia ...">
            <a:extLst>
              <a:ext uri="{FF2B5EF4-FFF2-40B4-BE49-F238E27FC236}">
                <a16:creationId xmlns:a16="http://schemas.microsoft.com/office/drawing/2014/main" id="{222CC150-39C8-4919-97A7-BDAE910D3D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9167" y="2238113"/>
            <a:ext cx="320044" cy="246041"/>
          </a:xfrm>
          <a:prstGeom prst="rect">
            <a:avLst/>
          </a:prstGeom>
        </p:spPr>
      </p:pic>
      <p:sp>
        <p:nvSpPr>
          <p:cNvPr id="65" name="Rounded Rectangle 95">
            <a:extLst>
              <a:ext uri="{FF2B5EF4-FFF2-40B4-BE49-F238E27FC236}">
                <a16:creationId xmlns:a16="http://schemas.microsoft.com/office/drawing/2014/main" id="{EA3AC34C-BA1A-4B78-8136-9F6A352D1ED3}"/>
              </a:ext>
            </a:extLst>
          </p:cNvPr>
          <p:cNvSpPr/>
          <p:nvPr/>
        </p:nvSpPr>
        <p:spPr>
          <a:xfrm>
            <a:off x="4464701" y="3447557"/>
            <a:ext cx="744434" cy="765038"/>
          </a:xfrm>
          <a:prstGeom prst="roundRect">
            <a:avLst>
              <a:gd name="adj" fmla="val 10000"/>
            </a:avLst>
          </a:prstGeom>
          <a:ln>
            <a:solidFill>
              <a:schemeClr val="accent3"/>
            </a:solidFill>
          </a:ln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2">
            <a:scrgbClr r="0" g="0" b="0"/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r>
              <a:rPr lang="pt-PT" sz="800" dirty="0" err="1"/>
              <a:t>Documentation</a:t>
            </a:r>
            <a:r>
              <a:rPr lang="pt-PT" sz="800" dirty="0"/>
              <a:t> </a:t>
            </a:r>
            <a:r>
              <a:rPr lang="pt-PT" sz="800" dirty="0" err="1"/>
              <a:t>and</a:t>
            </a:r>
            <a:r>
              <a:rPr lang="pt-PT" sz="800" dirty="0"/>
              <a:t> </a:t>
            </a:r>
            <a:r>
              <a:rPr lang="pt-PT" sz="800" dirty="0" err="1"/>
              <a:t>handover</a:t>
            </a:r>
            <a:endParaRPr lang="pt-PT" sz="800" dirty="0"/>
          </a:p>
        </p:txBody>
      </p:sp>
      <p:pic>
        <p:nvPicPr>
          <p:cNvPr id="30" name="Picture 29" descr="Archivo:Check green icon.svg - Wikipedia, la enciclopedia ...">
            <a:extLst>
              <a:ext uri="{FF2B5EF4-FFF2-40B4-BE49-F238E27FC236}">
                <a16:creationId xmlns:a16="http://schemas.microsoft.com/office/drawing/2014/main" id="{60545321-6586-4D03-B3AE-180B23C53AF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165" y="2245680"/>
            <a:ext cx="320044" cy="246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5825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1. Sprint 1 Review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289B1B50-75F1-4977-9FF8-D5C2C3648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3071371"/>
              </p:ext>
            </p:extLst>
          </p:nvPr>
        </p:nvGraphicFramePr>
        <p:xfrm>
          <a:off x="473529" y="2134180"/>
          <a:ext cx="10812234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0211">
                  <a:extLst>
                    <a:ext uri="{9D8B030D-6E8A-4147-A177-3AD203B41FA5}">
                      <a16:colId xmlns:a16="http://schemas.microsoft.com/office/drawing/2014/main" val="1683065498"/>
                    </a:ext>
                  </a:extLst>
                </a:gridCol>
                <a:gridCol w="5176828">
                  <a:extLst>
                    <a:ext uri="{9D8B030D-6E8A-4147-A177-3AD203B41FA5}">
                      <a16:colId xmlns:a16="http://schemas.microsoft.com/office/drawing/2014/main" val="628989764"/>
                    </a:ext>
                  </a:extLst>
                </a:gridCol>
                <a:gridCol w="2258568">
                  <a:extLst>
                    <a:ext uri="{9D8B030D-6E8A-4147-A177-3AD203B41FA5}">
                      <a16:colId xmlns:a16="http://schemas.microsoft.com/office/drawing/2014/main" val="1733340472"/>
                    </a:ext>
                  </a:extLst>
                </a:gridCol>
                <a:gridCol w="749808">
                  <a:extLst>
                    <a:ext uri="{9D8B030D-6E8A-4147-A177-3AD203B41FA5}">
                      <a16:colId xmlns:a16="http://schemas.microsoft.com/office/drawing/2014/main" val="193697238"/>
                    </a:ext>
                  </a:extLst>
                </a:gridCol>
                <a:gridCol w="649224">
                  <a:extLst>
                    <a:ext uri="{9D8B030D-6E8A-4147-A177-3AD203B41FA5}">
                      <a16:colId xmlns:a16="http://schemas.microsoft.com/office/drawing/2014/main" val="2457849855"/>
                    </a:ext>
                  </a:extLst>
                </a:gridCol>
                <a:gridCol w="797595">
                  <a:extLst>
                    <a:ext uri="{9D8B030D-6E8A-4147-A177-3AD203B41FA5}">
                      <a16:colId xmlns:a16="http://schemas.microsoft.com/office/drawing/2014/main" val="8010341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Issue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it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ssign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oi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ior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76622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cessful Regist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668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successful Registration due to invalid ema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19063155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Sprint 1 Review    |    03/05 -&gt; 14/05</a:t>
            </a:r>
          </a:p>
        </p:txBody>
      </p:sp>
      <p:pic>
        <p:nvPicPr>
          <p:cNvPr id="5" name="Image 24">
            <a:extLst>
              <a:ext uri="{FF2B5EF4-FFF2-40B4-BE49-F238E27FC236}">
                <a16:creationId xmlns:a16="http://schemas.microsoft.com/office/drawing/2014/main" id="{A19C6847-EC60-45D8-AE2E-99B0C60B33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20A90E9-4736-4454-BFE7-54A30A32E7B7}"/>
              </a:ext>
            </a:extLst>
          </p:cNvPr>
          <p:cNvSpPr txBox="1"/>
          <p:nvPr/>
        </p:nvSpPr>
        <p:spPr>
          <a:xfrm>
            <a:off x="112172" y="6227194"/>
            <a:ext cx="4887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ftware Testing, Verification and Validation</a:t>
            </a:r>
          </a:p>
        </p:txBody>
      </p:sp>
      <p:sp>
        <p:nvSpPr>
          <p:cNvPr id="7" name="Text Box 1">
            <a:extLst>
              <a:ext uri="{FF2B5EF4-FFF2-40B4-BE49-F238E27FC236}">
                <a16:creationId xmlns:a16="http://schemas.microsoft.com/office/drawing/2014/main" id="{C98707C8-F182-4155-ADC0-857F587754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221" y="3877055"/>
            <a:ext cx="11663167" cy="205740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tIns="91440"/>
          <a:lstStyle/>
          <a:p>
            <a:pPr marL="550862" indent="-285750">
              <a:spcBef>
                <a:spcPts val="325"/>
              </a:spcBef>
              <a:spcAft>
                <a:spcPts val="1425"/>
              </a:spcAft>
              <a:buSzPct val="45000"/>
              <a:buFont typeface="Wingdings" panose="05000000000000000000" pitchFamily="2" charset="2"/>
              <a:buChar char="Ø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r>
              <a:rPr lang="en-GB" sz="1400" dirty="0">
                <a:solidFill>
                  <a:srgbClr val="595959"/>
                </a:solidFill>
              </a:rPr>
              <a:t>Sprint 1 Points : 20</a:t>
            </a:r>
          </a:p>
          <a:p>
            <a:pPr marL="550862" indent="-285750">
              <a:spcBef>
                <a:spcPts val="325"/>
              </a:spcBef>
              <a:spcAft>
                <a:spcPts val="1425"/>
              </a:spcAft>
              <a:buSzPct val="45000"/>
              <a:buFont typeface="Wingdings" panose="05000000000000000000" pitchFamily="2" charset="2"/>
              <a:buChar char="Ø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r>
              <a:rPr lang="en-GB" sz="1400" dirty="0">
                <a:solidFill>
                  <a:srgbClr val="595959"/>
                </a:solidFill>
              </a:rPr>
              <a:t>Sprint Velocity : 20</a:t>
            </a:r>
          </a:p>
        </p:txBody>
      </p:sp>
    </p:spTree>
    <p:extLst>
      <p:ext uri="{BB962C8B-B14F-4D97-AF65-F5344CB8AC3E}">
        <p14:creationId xmlns:p14="http://schemas.microsoft.com/office/powerpoint/2010/main" val="14315193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2. Sprint 1 Retrospective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289B1B50-75F1-4977-9FF8-D5C2C3648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6956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130982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Sprint 1 Retrospective</a:t>
            </a:r>
          </a:p>
        </p:txBody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88625F8E-DE97-4AEF-9C66-0EA334D99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90888829-381A-4D50-BD5A-4257014469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3993768"/>
              </p:ext>
            </p:extLst>
          </p:nvPr>
        </p:nvGraphicFramePr>
        <p:xfrm>
          <a:off x="824992" y="1947672"/>
          <a:ext cx="10257536" cy="45193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13106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3. Sprint 2 Plan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289B1B50-75F1-4977-9FF8-D5C2C3648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47187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9830159"/>
              </p:ext>
            </p:extLst>
          </p:nvPr>
        </p:nvGraphicFramePr>
        <p:xfrm>
          <a:off x="473529" y="2134180"/>
          <a:ext cx="10947327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2155">
                  <a:extLst>
                    <a:ext uri="{9D8B030D-6E8A-4147-A177-3AD203B41FA5}">
                      <a16:colId xmlns:a16="http://schemas.microsoft.com/office/drawing/2014/main" val="1683065498"/>
                    </a:ext>
                  </a:extLst>
                </a:gridCol>
                <a:gridCol w="4770836">
                  <a:extLst>
                    <a:ext uri="{9D8B030D-6E8A-4147-A177-3AD203B41FA5}">
                      <a16:colId xmlns:a16="http://schemas.microsoft.com/office/drawing/2014/main" val="628989764"/>
                    </a:ext>
                  </a:extLst>
                </a:gridCol>
                <a:gridCol w="2337855">
                  <a:extLst>
                    <a:ext uri="{9D8B030D-6E8A-4147-A177-3AD203B41FA5}">
                      <a16:colId xmlns:a16="http://schemas.microsoft.com/office/drawing/2014/main" val="1351784640"/>
                    </a:ext>
                  </a:extLst>
                </a:gridCol>
                <a:gridCol w="739754">
                  <a:extLst>
                    <a:ext uri="{9D8B030D-6E8A-4147-A177-3AD203B41FA5}">
                      <a16:colId xmlns:a16="http://schemas.microsoft.com/office/drawing/2014/main" val="193697238"/>
                    </a:ext>
                  </a:extLst>
                </a:gridCol>
                <a:gridCol w="1076347">
                  <a:extLst>
                    <a:ext uri="{9D8B030D-6E8A-4147-A177-3AD203B41FA5}">
                      <a16:colId xmlns:a16="http://schemas.microsoft.com/office/drawing/2014/main" val="2457849855"/>
                    </a:ext>
                  </a:extLst>
                </a:gridCol>
                <a:gridCol w="820380">
                  <a:extLst>
                    <a:ext uri="{9D8B030D-6E8A-4147-A177-3AD203B41FA5}">
                      <a16:colId xmlns:a16="http://schemas.microsoft.com/office/drawing/2014/main" val="8010341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Issue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it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ssign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oi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ior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76622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cessful Registration with three hobbies and three subje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604058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cessful Registration without not mandatory fie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5803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5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successful Registration due to invalid Date of Bir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3962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d Remove Files method to the automation proj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651130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AEX-TA-0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tomation project Refa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8464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AEX-TA-0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timize date picker value sel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646114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AEX-TA-0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d video recording to the test automation exec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74487079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Backlog</a:t>
            </a:r>
          </a:p>
        </p:txBody>
      </p:sp>
      <p:pic>
        <p:nvPicPr>
          <p:cNvPr id="5" name="Image 24">
            <a:extLst>
              <a:ext uri="{FF2B5EF4-FFF2-40B4-BE49-F238E27FC236}">
                <a16:creationId xmlns:a16="http://schemas.microsoft.com/office/drawing/2014/main" id="{A19C6847-EC60-45D8-AE2E-99B0C60B33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20A90E9-4736-4454-BFE7-54A30A32E7B7}"/>
              </a:ext>
            </a:extLst>
          </p:cNvPr>
          <p:cNvSpPr txBox="1"/>
          <p:nvPr/>
        </p:nvSpPr>
        <p:spPr>
          <a:xfrm>
            <a:off x="112172" y="6227194"/>
            <a:ext cx="4887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ftware Testing, Verification and Validation</a:t>
            </a:r>
          </a:p>
        </p:txBody>
      </p:sp>
    </p:spTree>
    <p:extLst>
      <p:ext uri="{BB962C8B-B14F-4D97-AF65-F5344CB8AC3E}">
        <p14:creationId xmlns:p14="http://schemas.microsoft.com/office/powerpoint/2010/main" val="3611683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6847" y="1014261"/>
            <a:ext cx="6565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558F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Sprint 2 Plan    |    17/05 -&gt; 28/05</a:t>
            </a:r>
          </a:p>
        </p:txBody>
      </p:sp>
      <p:pic>
        <p:nvPicPr>
          <p:cNvPr id="9" name="Image 24">
            <a:extLst>
              <a:ext uri="{FF2B5EF4-FFF2-40B4-BE49-F238E27FC236}">
                <a16:creationId xmlns:a16="http://schemas.microsoft.com/office/drawing/2014/main" id="{9E92E38D-8FF4-4B07-8248-DA61CA779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006" y="317828"/>
            <a:ext cx="27051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0E23B4D-AA24-40CB-86FE-E05AF000D7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7925699"/>
              </p:ext>
            </p:extLst>
          </p:nvPr>
        </p:nvGraphicFramePr>
        <p:xfrm>
          <a:off x="473529" y="2134180"/>
          <a:ext cx="10947327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2155">
                  <a:extLst>
                    <a:ext uri="{9D8B030D-6E8A-4147-A177-3AD203B41FA5}">
                      <a16:colId xmlns:a16="http://schemas.microsoft.com/office/drawing/2014/main" val="1683065498"/>
                    </a:ext>
                  </a:extLst>
                </a:gridCol>
                <a:gridCol w="4770836">
                  <a:extLst>
                    <a:ext uri="{9D8B030D-6E8A-4147-A177-3AD203B41FA5}">
                      <a16:colId xmlns:a16="http://schemas.microsoft.com/office/drawing/2014/main" val="628989764"/>
                    </a:ext>
                  </a:extLst>
                </a:gridCol>
                <a:gridCol w="2337855">
                  <a:extLst>
                    <a:ext uri="{9D8B030D-6E8A-4147-A177-3AD203B41FA5}">
                      <a16:colId xmlns:a16="http://schemas.microsoft.com/office/drawing/2014/main" val="1351784640"/>
                    </a:ext>
                  </a:extLst>
                </a:gridCol>
                <a:gridCol w="739754">
                  <a:extLst>
                    <a:ext uri="{9D8B030D-6E8A-4147-A177-3AD203B41FA5}">
                      <a16:colId xmlns:a16="http://schemas.microsoft.com/office/drawing/2014/main" val="193697238"/>
                    </a:ext>
                  </a:extLst>
                </a:gridCol>
                <a:gridCol w="1076347">
                  <a:extLst>
                    <a:ext uri="{9D8B030D-6E8A-4147-A177-3AD203B41FA5}">
                      <a16:colId xmlns:a16="http://schemas.microsoft.com/office/drawing/2014/main" val="2457849855"/>
                    </a:ext>
                  </a:extLst>
                </a:gridCol>
                <a:gridCol w="820380">
                  <a:extLst>
                    <a:ext uri="{9D8B030D-6E8A-4147-A177-3AD203B41FA5}">
                      <a16:colId xmlns:a16="http://schemas.microsoft.com/office/drawing/2014/main" val="8010341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Issue 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it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ssign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oi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ior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76622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cessful Registration with three hobbies and three subje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604058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ccessful Registration without not mandatory fie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5803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5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successful Registration due to invalid Date of Bir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3962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AEX-TA</a:t>
                      </a:r>
                      <a:r>
                        <a:rPr lang="en-US" sz="1400" baseline="0" dirty="0"/>
                        <a:t>-00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d Remove Files method to the automation proj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651130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AEX-TA-0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timize date picker value sel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646114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QAEX-TA-0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d video recording to the test automation exec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islaine Mene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74487079"/>
                  </a:ext>
                </a:extLst>
              </a:tr>
            </a:tbl>
          </a:graphicData>
        </a:graphic>
      </p:graphicFrame>
      <p:sp>
        <p:nvSpPr>
          <p:cNvPr id="5" name="Text Box 1">
            <a:extLst>
              <a:ext uri="{FF2B5EF4-FFF2-40B4-BE49-F238E27FC236}">
                <a16:creationId xmlns:a16="http://schemas.microsoft.com/office/drawing/2014/main" id="{9753E806-CB7C-420B-A6F5-9C08DC52EC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6847" y="5322530"/>
            <a:ext cx="11663167" cy="104241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tIns="91440"/>
          <a:lstStyle/>
          <a:p>
            <a:pPr marL="550862" indent="-285750">
              <a:spcBef>
                <a:spcPts val="325"/>
              </a:spcBef>
              <a:spcAft>
                <a:spcPts val="1425"/>
              </a:spcAft>
              <a:buSzPct val="45000"/>
              <a:buFont typeface="Wingdings" panose="05000000000000000000" pitchFamily="2" charset="2"/>
              <a:buChar char="Ø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r>
              <a:rPr lang="en-GB" sz="1400" dirty="0">
                <a:solidFill>
                  <a:srgbClr val="595959"/>
                </a:solidFill>
              </a:rPr>
              <a:t>Sprint 2 Points : 18 </a:t>
            </a:r>
          </a:p>
          <a:p>
            <a:pPr marL="550862" indent="-285750">
              <a:spcBef>
                <a:spcPts val="325"/>
              </a:spcBef>
              <a:spcAft>
                <a:spcPts val="1425"/>
              </a:spcAft>
              <a:buSzPct val="45000"/>
              <a:buFont typeface="Wingdings" panose="05000000000000000000" pitchFamily="2" charset="2"/>
              <a:buChar char="Ø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r>
              <a:rPr lang="en-GB" sz="1400" dirty="0">
                <a:solidFill>
                  <a:srgbClr val="595959"/>
                </a:solidFill>
              </a:rPr>
              <a:t>Sprint Velocity:  19</a:t>
            </a:r>
          </a:p>
        </p:txBody>
      </p:sp>
    </p:spTree>
    <p:extLst>
      <p:ext uri="{BB962C8B-B14F-4D97-AF65-F5344CB8AC3E}">
        <p14:creationId xmlns:p14="http://schemas.microsoft.com/office/powerpoint/2010/main" val="25901921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111AEC0F001F439AAA6966AC67EDAD" ma:contentTypeVersion="6" ma:contentTypeDescription="Create a new document." ma:contentTypeScope="" ma:versionID="8398f854210da27859ebd367e4ebbe84">
  <xsd:schema xmlns:xsd="http://www.w3.org/2001/XMLSchema" xmlns:xs="http://www.w3.org/2001/XMLSchema" xmlns:p="http://schemas.microsoft.com/office/2006/metadata/properties" xmlns:ns2="35ad002e-b3e2-49bf-804b-0848fdb7d1ea" targetNamespace="http://schemas.microsoft.com/office/2006/metadata/properties" ma:root="true" ma:fieldsID="73d8ee19da6aa0edd5a3a7632d9b1273" ns2:_="">
    <xsd:import namespace="35ad002e-b3e2-49bf-804b-0848fdb7d1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ad002e-b3e2-49bf-804b-0848fdb7d1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831197C-EEF5-4B66-BF08-BF7DBE9EBA6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C72D5F8-5DBC-49FD-91CE-28F5261B1308}">
  <ds:schemaRefs>
    <ds:schemaRef ds:uri="35ad002e-b3e2-49bf-804b-0848fdb7d1e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5F351B3-DB8D-4A44-9111-C637F048ECE6}">
  <ds:schemaRefs>
    <ds:schemaRef ds:uri="http://purl.org/dc/dcmitype/"/>
    <ds:schemaRef ds:uri="http://purl.org/dc/elements/1.1/"/>
    <ds:schemaRef ds:uri="http://schemas.microsoft.com/office/2006/metadata/properties"/>
    <ds:schemaRef ds:uri="http://www.w3.org/XML/1998/namespace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35ad002e-b3e2-49bf-804b-0848fdb7d1e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18</TotalTime>
  <Words>464</Words>
  <Application>Microsoft Office PowerPoint</Application>
  <PresentationFormat>Widescreen</PresentationFormat>
  <Paragraphs>186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Calibri Light</vt:lpstr>
      <vt:lpstr>Calibri</vt:lpstr>
      <vt:lpstr>Arial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ltran P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ETANO David;Diogo Maio</dc:creator>
  <cp:lastModifiedBy>MALAFAYA Ricardo</cp:lastModifiedBy>
  <cp:revision>165</cp:revision>
  <dcterms:created xsi:type="dcterms:W3CDTF">2019-02-22T18:13:38Z</dcterms:created>
  <dcterms:modified xsi:type="dcterms:W3CDTF">2021-05-28T14:1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1111AEC0F001F439AAA6966AC67EDAD</vt:lpwstr>
  </property>
</Properties>
</file>